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sldIdLst>
    <p:sldId id="256" r:id="rId2"/>
    <p:sldId id="270" r:id="rId3"/>
    <p:sldId id="257" r:id="rId4"/>
    <p:sldId id="258" r:id="rId5"/>
    <p:sldId id="263" r:id="rId6"/>
    <p:sldId id="261" r:id="rId7"/>
    <p:sldId id="262" r:id="rId8"/>
    <p:sldId id="264" r:id="rId9"/>
    <p:sldId id="265" r:id="rId10"/>
    <p:sldId id="268" r:id="rId11"/>
    <p:sldId id="267" r:id="rId12"/>
    <p:sldId id="269" r:id="rId13"/>
    <p:sldId id="271" r:id="rId14"/>
  </p:sldIdLst>
  <p:sldSz cx="12192000" cy="6858000"/>
  <p:notesSz cx="12192000" cy="6858000"/>
  <p:embeddedFontLst>
    <p:embeddedFont>
      <p:font typeface="Cambria Math" panose="02040503050406030204" pitchFamily="18" charset="0"/>
      <p:regular r:id="rId15"/>
    </p:embeddedFont>
    <p:embeddedFont>
      <p:font typeface="Taviraj Medium" panose="00000600000000000000" pitchFamily="2" charset="-34"/>
      <p:regular r:id="rId16"/>
      <p:italic r:id="rId17"/>
    </p:embeddedFont>
    <p:embeddedFont>
      <p:font typeface="Montserrat" panose="00000500000000000000" pitchFamily="2" charset="0"/>
      <p:regular r:id="rId18"/>
      <p:bold r:id="rId19"/>
      <p:italic r:id="rId20"/>
      <p:boldItalic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Montserrat Light" panose="00000400000000000000" pitchFamily="2" charset="0"/>
      <p:regular r:id="rId26"/>
      <p:italic r:id="rId27"/>
    </p:embeddedFont>
  </p:embeddedFontLst>
  <p:defaultTextStyle>
    <a:defPPr>
      <a:defRPr lang="de-DE"/>
    </a:defPPr>
    <a:lvl1pPr marL="0" algn="l" defTabSz="957816">
      <a:defRPr sz="19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>
      <a:defRPr sz="19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>
      <a:defRPr sz="19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>
      <a:defRPr sz="19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>
      <a:defRPr sz="19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>
      <a:defRPr sz="19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>
      <a:defRPr sz="19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>
      <a:defRPr sz="19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>
      <a:defRPr sz="19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0C5183F-1DE3-4EEB-9EBF-81B9C23629D4}">
          <p14:sldIdLst>
            <p14:sldId id="256"/>
            <p14:sldId id="270"/>
          </p14:sldIdLst>
        </p14:section>
        <p14:section name="Equilibrium" id="{6A9B4851-ACA8-4473-B3A9-1C044A810808}">
          <p14:sldIdLst>
            <p14:sldId id="257"/>
            <p14:sldId id="258"/>
          </p14:sldIdLst>
        </p14:section>
        <p14:section name="Aggregate Demand Shock" id="{79AC1E2F-629F-46E2-87AC-F953D5310BFD}">
          <p14:sldIdLst>
            <p14:sldId id="263"/>
            <p14:sldId id="261"/>
            <p14:sldId id="262"/>
            <p14:sldId id="264"/>
            <p14:sldId id="265"/>
          </p14:sldIdLst>
        </p14:section>
        <p14:section name="Aggregate Supply Shock" id="{D127F719-4229-4E21-A608-7E195F7A88B0}">
          <p14:sldIdLst>
            <p14:sldId id="268"/>
            <p14:sldId id="267"/>
            <p14:sldId id="269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7" autoAdjust="0"/>
    <p:restoredTop sz="94660"/>
  </p:normalViewPr>
  <p:slideViewPr>
    <p:cSldViewPr>
      <p:cViewPr varScale="1">
        <p:scale>
          <a:sx n="69" d="100"/>
          <a:sy n="69" d="100"/>
        </p:scale>
        <p:origin x="372" y="4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NUL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4" Type="http://schemas.openxmlformats.org/officeDocument/2006/relationships/image" Target="NUL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4" Type="http://schemas.openxmlformats.org/officeDocument/2006/relationships/image" Target="NUL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4" Type="http://schemas.openxmlformats.org/officeDocument/2006/relationships/image" Target="NUL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Relationship Id="rId4" Type="http://schemas.openxmlformats.org/officeDocument/2006/relationships/image" Target="NUL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4" Type="http://schemas.openxmlformats.org/officeDocument/2006/relationships/image" Target="NUL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Relationship Id="rId4" Type="http://schemas.openxmlformats.org/officeDocument/2006/relationships/image" Target="NUL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Relationship Id="rId4" Type="http://schemas.openxmlformats.org/officeDocument/2006/relationships/image" Target="NUL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Relationship Id="rId4" Type="http://schemas.openxmlformats.org/officeDocument/2006/relationships/image" Target="NUL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Relationship Id="rId4" Type="http://schemas.openxmlformats.org/officeDocument/2006/relationships/image" Target="NUL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1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81687" y="1083501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bg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auto">
          <a:xfrm>
            <a:off x="481687" y="2663772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sp>
        <p:nvSpPr>
          <p:cNvPr id="5" name="ZoneTexte 4"/>
          <p:cNvSpPr txBox="1"/>
          <p:nvPr userDrawn="1"/>
        </p:nvSpPr>
        <p:spPr bwMode="auto"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fr-FR" sz="1600"/>
          </a:p>
        </p:txBody>
      </p:sp>
      <p:pic>
        <p:nvPicPr>
          <p:cNvPr id="48" name="Image 47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-553994" y="4669602"/>
            <a:ext cx="12745993" cy="24063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re et contenu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2926" y="447556"/>
            <a:ext cx="10991848" cy="625331"/>
          </a:xfrm>
        </p:spPr>
        <p:txBody>
          <a:bodyPr/>
          <a:lstStyle>
            <a:lvl1pPr>
              <a:defRPr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6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42926" y="1117734"/>
            <a:ext cx="11098212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2926" y="1710681"/>
            <a:ext cx="11098212" cy="325438"/>
          </a:xfrm>
        </p:spPr>
        <p:txBody>
          <a:bodyPr/>
          <a:lstStyle>
            <a:lvl1pPr>
              <a:defRPr sz="2100" b="0" i="0">
                <a:solidFill>
                  <a:schemeClr val="tx1"/>
                </a:solidFill>
                <a:latin typeface="+mj-lt"/>
                <a:cs typeface="Taviraj Medium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 bwMode="auto">
          <a:xfrm>
            <a:off x="542926" y="2304478"/>
            <a:ext cx="11098211" cy="3129741"/>
          </a:xfrm>
        </p:spPr>
        <p:txBody>
          <a:bodyPr/>
          <a:lstStyle>
            <a:lvl1pPr>
              <a:spcBef>
                <a:spcPts val="600"/>
              </a:spcBef>
              <a:spcAft>
                <a:spcPts val="1200"/>
              </a:spcAft>
              <a:defRPr sz="2000" b="0" i="0">
                <a:solidFill>
                  <a:schemeClr val="tx1"/>
                </a:solidFill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285750" indent="-285750">
              <a:spcBef>
                <a:spcPts val="6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3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89917" y="347087"/>
            <a:ext cx="10991848" cy="625331"/>
          </a:xfrm>
        </p:spPr>
        <p:txBody>
          <a:bodyPr/>
          <a:lstStyle>
            <a:lvl1pPr>
              <a:defRPr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/>
          <p:cNvSpPr>
            <a:spLocks noGrp="1"/>
          </p:cNvSpPr>
          <p:nvPr>
            <p:ph type="ftr" sz="quarter" idx="13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V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8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/>
          <p:cNvSpPr>
            <a:spLocks noGrp="1"/>
          </p:cNvSpPr>
          <p:nvPr>
            <p:ph type="ftr" sz="quarter" idx="13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4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Vid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9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auto">
          <a:xfrm>
            <a:off x="159131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Vid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0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auto">
          <a:xfrm>
            <a:off x="1" y="0"/>
            <a:ext cx="12191999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 - Title and 2 Column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1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47087"/>
            <a:ext cx="11098211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4191" y="1048416"/>
            <a:ext cx="11098211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50863" y="1617061"/>
            <a:ext cx="11098211" cy="325438"/>
          </a:xfrm>
        </p:spPr>
        <p:txBody>
          <a:bodyPr/>
          <a:lstStyle>
            <a:lvl1pPr>
              <a:defRPr sz="2100" b="0" i="0">
                <a:latin typeface="+mj-lt"/>
                <a:cs typeface="Taviraj Medium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550863" y="2999350"/>
            <a:ext cx="5337050" cy="255270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defRPr sz="1300" b="0" i="0">
                <a:latin typeface="+mn-lt"/>
              </a:defRPr>
            </a:lvl1pPr>
            <a:lvl2pPr marL="140400" indent="-14040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lang="fr-FR" sz="1300" b="0" i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defRPr/>
            </a:pPr>
            <a:r>
              <a:rPr lang="en-GB"/>
              <a:t>Text 1</a:t>
            </a:r>
            <a:endParaRPr/>
          </a:p>
          <a:p>
            <a:pPr marL="140400" lvl="1" indent="-140400" algn="l" defTabSz="914400">
              <a:spcBef>
                <a:spcPts val="0"/>
              </a:spcBef>
              <a:buFont typeface="Arial"/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295352" y="2999350"/>
            <a:ext cx="5337050" cy="2552701"/>
          </a:xfrm>
        </p:spPr>
        <p:txBody>
          <a:bodyPr/>
          <a:lstStyle>
            <a:lvl1pPr marL="0" indent="0" algn="l" defTabSz="914400">
              <a:spcBef>
                <a:spcPts val="0"/>
              </a:spcBef>
              <a:spcAft>
                <a:spcPts val="600"/>
              </a:spcAft>
              <a:buFont typeface="Arial"/>
              <a:buNone/>
              <a:defRPr lang="fr-FR" sz="1300" b="0" i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1pPr>
            <a:lvl2pPr marL="140400" indent="-140400" algn="l" defTabSz="914400">
              <a:spcBef>
                <a:spcPts val="0"/>
              </a:spcBef>
              <a:buFont typeface="Arial"/>
              <a:buChar char="•"/>
              <a:defRPr lang="fr-FR" sz="1300" b="0" i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defRPr/>
            </a:pPr>
            <a:r>
              <a:rPr lang="en-GB"/>
              <a:t>Text 1</a:t>
            </a:r>
            <a:endParaRPr/>
          </a:p>
          <a:p>
            <a:pPr marL="140400" lvl="1" indent="-140400" algn="l" defTabSz="914400">
              <a:spcBef>
                <a:spcPts val="0"/>
              </a:spcBef>
              <a:buFont typeface="Arial"/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550863" y="2080176"/>
            <a:ext cx="11098211" cy="325438"/>
          </a:xfrm>
        </p:spPr>
        <p:txBody>
          <a:bodyPr/>
          <a:lstStyle>
            <a:lvl1pPr marL="0" marR="0" indent="0" algn="l" defTabSz="91440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/>
              <a:buNone/>
              <a:defRPr lang="en-GB" sz="18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</a:defRPr>
            </a:lvl1pPr>
            <a:lvl2pPr>
              <a:defRPr/>
            </a:lvl2pPr>
          </a:lstStyle>
          <a:p>
            <a:pPr marL="228600">
              <a:spcAft>
                <a:spcPts val="0"/>
              </a:spcAft>
              <a:defRPr/>
            </a:pPr>
            <a:r>
              <a:rPr lang="en-GB" sz="2000">
                <a:latin typeface="Montserrat Light"/>
                <a:ea typeface="Calibri"/>
                <a:cs typeface="Times New Roman"/>
              </a:rPr>
              <a:t>Em autem etus. Ipiciun delectius. </a:t>
            </a:r>
            <a:r>
              <a:rPr lang="fr-FR" sz="2000">
                <a:latin typeface="Montserrat Light"/>
                <a:ea typeface="Calibri"/>
                <a:cs typeface="Times New Roman"/>
              </a:rPr>
              <a:t>Peribus sus et faccuptiant iusape eseque nihiliquam que quunt, conectustrum reriore rferit quis molorec tatist qui a incti ute cumetum </a:t>
            </a:r>
            <a:endParaRPr lang="en-GB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8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9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 - Title and 2 Column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2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6893" y="283112"/>
            <a:ext cx="11098213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550861" y="2991284"/>
            <a:ext cx="5337050" cy="255270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defRPr sz="1300" b="0" i="0">
                <a:latin typeface="+mn-lt"/>
              </a:defRPr>
            </a:lvl1pPr>
            <a:lvl2pPr marL="140400" indent="-14040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lang="fr-FR" sz="13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defRPr/>
            </a:pPr>
            <a:r>
              <a:rPr lang="en-GB"/>
              <a:t>Text 1</a:t>
            </a:r>
            <a:endParaRPr/>
          </a:p>
          <a:p>
            <a:pPr marL="140400" lvl="1" indent="-140400" algn="l" defTabSz="914400">
              <a:spcBef>
                <a:spcPts val="0"/>
              </a:spcBef>
              <a:buFont typeface="Arial"/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50861" y="2139080"/>
            <a:ext cx="533705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6303566" y="2139080"/>
            <a:ext cx="5300537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6304089" y="2991284"/>
            <a:ext cx="5337050" cy="255270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lang="fr-FR" sz="1300" b="0" i="0">
                <a:latin typeface="+mn-lt"/>
              </a:defRPr>
            </a:lvl1pPr>
            <a:lvl2pPr>
              <a:spcAft>
                <a:spcPts val="600"/>
              </a:spcAft>
              <a:defRPr lang="fr-FR" sz="1300">
                <a:solidFill>
                  <a:schemeClr val="tx1"/>
                </a:solidFill>
                <a:latin typeface="+mn-lt"/>
              </a:defRPr>
            </a:lvl2pPr>
          </a:lstStyle>
          <a:p>
            <a:pPr lvl="0">
              <a:spcBef>
                <a:spcPts val="0"/>
              </a:spcBef>
              <a:spcAft>
                <a:spcPts val="800"/>
              </a:spcAft>
              <a:defRPr/>
            </a:pPr>
            <a:r>
              <a:rPr lang="en-GB"/>
              <a:t>Text 1</a:t>
            </a:r>
            <a:endParaRPr/>
          </a:p>
          <a:p>
            <a:pPr marL="140400" lvl="1" indent="-140400">
              <a:spcAft>
                <a:spcPts val="800"/>
              </a:spcAft>
              <a:buChar char="•"/>
              <a:defRPr/>
            </a:pPr>
            <a:r>
              <a:rPr lang="en-GB"/>
              <a:t>Text 2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542926" y="1092323"/>
            <a:ext cx="10907713" cy="915121"/>
          </a:xfrm>
        </p:spPr>
        <p:txBody>
          <a:bodyPr/>
          <a:lstStyle>
            <a:lvl1pPr algn="l">
              <a:buFontTx/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latin typeface="Arial"/>
                <a:cs typeface="Arial"/>
              </a:defRPr>
            </a:lvl2pPr>
            <a:lvl4pPr marL="1371600" indent="0">
              <a:buNone/>
              <a:defRPr/>
            </a:lvl4pPr>
          </a:lstStyle>
          <a:p>
            <a:pPr marL="228600" lvl="1">
              <a:spcAft>
                <a:spcPts val="0"/>
              </a:spcAft>
              <a:defRPr/>
            </a:pPr>
            <a:r>
              <a:rPr lang="en-GB" sz="2000">
                <a:latin typeface="Montserrat Light"/>
                <a:ea typeface="Calibri"/>
                <a:cs typeface="Times New Roman"/>
              </a:rPr>
              <a:t>Em autem etus. Ipiciun delectius. </a:t>
            </a:r>
            <a:r>
              <a:rPr lang="fr-FR" sz="2000">
                <a:latin typeface="Montserrat Light"/>
                <a:ea typeface="Calibri"/>
                <a:cs typeface="Times New Roman"/>
              </a:rPr>
              <a:t>Peribus sus et faccuptiant iusape eseque nihiliquam que quunt, conectustrum reriore rferit quis molorec tatist qui a incti ute cumetum 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20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1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Content &amp; Graph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3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14"/>
          <p:cNvSpPr>
            <a:spLocks noGrp="1"/>
          </p:cNvSpPr>
          <p:nvPr>
            <p:ph type="pic" sz="quarter" idx="16"/>
          </p:nvPr>
        </p:nvSpPr>
        <p:spPr bwMode="auto">
          <a:xfrm>
            <a:off x="162532" y="160420"/>
            <a:ext cx="5355952" cy="6529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096000" y="360387"/>
            <a:ext cx="5545140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0" y="1039644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096000" y="1598052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 bwMode="auto">
          <a:xfrm>
            <a:off x="6096001" y="2134595"/>
            <a:ext cx="5545139" cy="3129741"/>
          </a:xfrm>
        </p:spPr>
        <p:txBody>
          <a:bodyPr/>
          <a:lstStyle>
            <a:lvl1pPr>
              <a:defRPr lang="en-US" sz="1400" b="1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buFont typeface="Arial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8"/>
          </p:nvPr>
        </p:nvSpPr>
        <p:spPr bwMode="auto">
          <a:xfrm>
            <a:off x="5518484" y="6145788"/>
            <a:ext cx="498441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9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Content &amp; 2 Imag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6"/>
          </p:nvPr>
        </p:nvSpPr>
        <p:spPr bwMode="auto">
          <a:xfrm>
            <a:off x="144881" y="175402"/>
            <a:ext cx="5378416" cy="32375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Picture Placeholder 14"/>
          <p:cNvSpPr>
            <a:spLocks noGrp="1"/>
          </p:cNvSpPr>
          <p:nvPr>
            <p:ph type="pic" sz="quarter" idx="17"/>
          </p:nvPr>
        </p:nvSpPr>
        <p:spPr bwMode="auto">
          <a:xfrm>
            <a:off x="144880" y="3429000"/>
            <a:ext cx="5378417" cy="32375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096000" y="396663"/>
            <a:ext cx="5545140" cy="625331"/>
          </a:xfrm>
        </p:spPr>
        <p:txBody>
          <a:bodyPr/>
          <a:lstStyle>
            <a:lvl1pPr>
              <a:defRPr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0" y="1093526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096000" y="1661511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8"/>
          </p:nvPr>
        </p:nvSpPr>
        <p:spPr bwMode="auto">
          <a:xfrm>
            <a:off x="6096001" y="2189953"/>
            <a:ext cx="5545139" cy="3129741"/>
          </a:xfrm>
        </p:spPr>
        <p:txBody>
          <a:bodyPr/>
          <a:lstStyle>
            <a:lvl1pPr>
              <a:defRPr lang="en-US" sz="1400" b="1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buFont typeface="Arial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9"/>
          </p:nvPr>
        </p:nvSpPr>
        <p:spPr bwMode="auto">
          <a:xfrm>
            <a:off x="5523297" y="6145788"/>
            <a:ext cx="4979602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0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Content &amp; 1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5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art Placeholder 18"/>
          <p:cNvSpPr>
            <a:spLocks noGrp="1"/>
          </p:cNvSpPr>
          <p:nvPr>
            <p:ph type="chart" sz="quarter" idx="17"/>
          </p:nvPr>
        </p:nvSpPr>
        <p:spPr bwMode="auto">
          <a:xfrm>
            <a:off x="162443" y="176463"/>
            <a:ext cx="5445125" cy="6529136"/>
          </a:xfrm>
          <a:prstGeom prst="rect">
            <a:avLst/>
          </a:prstGeom>
          <a:solidFill>
            <a:schemeClr val="tx2"/>
          </a:solidFill>
          <a:ln/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096000" y="416780"/>
            <a:ext cx="5545140" cy="62533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096000" y="1109606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/>
              </a:defRPr>
            </a:lvl1pPr>
          </a:lstStyle>
          <a:p>
            <a:pPr lvl="0"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096000" y="1669748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>
              <a:defRPr/>
            </a:pPr>
            <a:r>
              <a:rPr lang="en-GB"/>
              <a:t>Subtitle 2</a:t>
            </a:r>
            <a:endParaRPr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 bwMode="auto">
          <a:xfrm>
            <a:off x="6096001" y="2155457"/>
            <a:ext cx="5545139" cy="3129741"/>
          </a:xfrm>
        </p:spPr>
        <p:txBody>
          <a:bodyPr/>
          <a:lstStyle>
            <a:lvl1pPr>
              <a:defRPr lang="en-US" sz="1400" b="1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b="0" i="0" u="none" strike="noStrike" cap="none" spc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buFont typeface="Arial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>
              <a:defRPr/>
            </a:pPr>
            <a:r>
              <a:rPr lang="fr-FR"/>
              <a:t>Cliquez pour modifier les styles du texte du masque</a:t>
            </a:r>
            <a:endParaRPr/>
          </a:p>
          <a:p>
            <a:pPr lvl="1">
              <a:defRPr/>
            </a:pPr>
            <a:r>
              <a:rPr lang="fr-FR"/>
              <a:t>Deuxième niveau</a:t>
            </a:r>
            <a:endParaRPr/>
          </a:p>
          <a:p>
            <a:pPr lvl="2">
              <a:defRPr/>
            </a:pPr>
            <a:r>
              <a:rPr lang="fr-FR"/>
              <a:t>Troisième niveau</a:t>
            </a:r>
            <a:endParaRPr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9"/>
          </p:nvPr>
        </p:nvSpPr>
        <p:spPr bwMode="auto">
          <a:xfrm>
            <a:off x="5607568" y="6145788"/>
            <a:ext cx="489533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0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2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9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bg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auto"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sp>
        <p:nvSpPr>
          <p:cNvPr id="5" name="ZoneTexte 4"/>
          <p:cNvSpPr txBox="1"/>
          <p:nvPr userDrawn="1"/>
        </p:nvSpPr>
        <p:spPr bwMode="auto"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fr-FR" sz="1600"/>
          </a:p>
        </p:txBody>
      </p:sp>
      <p:pic>
        <p:nvPicPr>
          <p:cNvPr id="48" name="Image 47"/>
          <p:cNvPicPr>
            <a:picLocks noChangeAspect="1"/>
          </p:cNvPicPr>
          <p:nvPr userDrawn="1"/>
        </p:nvPicPr>
        <p:blipFill>
          <a:blip r:embed="rId5"/>
          <a:srcRect t="64566"/>
          <a:stretch/>
        </p:blipFill>
        <p:spPr bwMode="auto"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5"/>
          <a:srcRect l="5641" t="12367" r="74331" b="37759"/>
          <a:stretch/>
        </p:blipFill>
        <p:spPr bwMode="auto">
          <a:xfrm>
            <a:off x="266699" y="453321"/>
            <a:ext cx="2552701" cy="12001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Title Slid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1"/>
            <a:ext cx="12192000" cy="34290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0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5"/>
          <a:srcRect t="64566"/>
          <a:stretch/>
        </p:blipFill>
        <p:spPr bwMode="auto"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 userDrawn="1"/>
        </p:nvPicPr>
        <p:blipFill>
          <a:blip r:embed="rId5"/>
          <a:srcRect l="4347" t="14218" r="74812" b="39176"/>
          <a:stretch/>
        </p:blipFill>
        <p:spPr bwMode="auto">
          <a:xfrm>
            <a:off x="0" y="489793"/>
            <a:ext cx="2656442" cy="11214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3_Title Slid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2968673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1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54809" y="1451168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554809" y="298946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-553994" y="4669602"/>
            <a:ext cx="12745993" cy="24063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1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91999" cy="2637183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1600">
              <a:latin typeface="Montserrat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2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auto">
          <a:xfrm>
            <a:off x="481687" y="2637183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sp>
        <p:nvSpPr>
          <p:cNvPr id="5" name="ZoneTexte 4"/>
          <p:cNvSpPr txBox="1"/>
          <p:nvPr userDrawn="1"/>
        </p:nvSpPr>
        <p:spPr bwMode="auto"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fr-FR" sz="160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auto">
          <a:xfrm>
            <a:off x="481687" y="1109162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-553994" y="4669602"/>
            <a:ext cx="12745993" cy="24063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 userDrawn="1">
  <p:cSld name="3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91999" cy="344547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1600">
              <a:latin typeface="Montserrat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3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auto"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sp>
        <p:nvSpPr>
          <p:cNvPr id="5" name="ZoneTexte 4"/>
          <p:cNvSpPr txBox="1"/>
          <p:nvPr userDrawn="1"/>
        </p:nvSpPr>
        <p:spPr bwMode="auto"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fr-FR" sz="160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auto"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5"/>
          <a:srcRect t="64566"/>
          <a:stretch/>
        </p:blipFill>
        <p:spPr bwMode="auto"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5"/>
          <a:srcRect l="4347" t="14218" r="74812" b="39176"/>
          <a:stretch/>
        </p:blipFill>
        <p:spPr bwMode="auto">
          <a:xfrm>
            <a:off x="0" y="489793"/>
            <a:ext cx="2656442" cy="11214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 with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2" name="Picture Placeholder 51"/>
          <p:cNvSpPr>
            <a:spLocks noGrp="1"/>
          </p:cNvSpPr>
          <p:nvPr>
            <p:ph type="pic" sz="quarter" idx="10"/>
          </p:nvPr>
        </p:nvSpPr>
        <p:spPr bwMode="auto">
          <a:xfrm>
            <a:off x="4234" y="0"/>
            <a:ext cx="12187767" cy="3120543"/>
          </a:xfrm>
          <a:prstGeom prst="rect">
            <a:avLst/>
          </a:prstGeom>
          <a:solidFill>
            <a:srgbClr val="B2B2B2"/>
          </a:solidFill>
        </p:spPr>
        <p:txBody>
          <a:bodyPr anchor="ctr"/>
          <a:lstStyle>
            <a:lvl1pPr marL="0" indent="0" algn="ctr">
              <a:buNone/>
              <a:defRPr sz="2800" b="0" i="0">
                <a:latin typeface="Montserrat"/>
              </a:defRPr>
            </a:lvl1pPr>
          </a:lstStyle>
          <a:p>
            <a:pPr>
              <a:defRPr/>
            </a:pPr>
            <a:endParaRPr lang="en-GB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55628" y="2758259"/>
            <a:ext cx="11085510" cy="1028002"/>
          </a:xfrm>
        </p:spPr>
        <p:txBody>
          <a:bodyPr lIns="0" tIns="0" rIns="0" bIns="0" anchor="b">
            <a:noAutofit/>
          </a:bodyPr>
          <a:lstStyle>
            <a:lvl1pPr algn="l">
              <a:defRPr sz="4400" b="0" i="0">
                <a:solidFill>
                  <a:schemeClr val="bg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555627" y="3771142"/>
            <a:ext cx="11085510" cy="78734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rgbClr val="FFFFFF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</a:t>
            </a:r>
            <a:endParaRPr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-553994" y="4669602"/>
            <a:ext cx="12745993" cy="24063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5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 userDrawn="1">
            <p:ph type="ctrTitle" hasCustomPrompt="1"/>
          </p:nvPr>
        </p:nvSpPr>
        <p:spPr bwMode="auto">
          <a:xfrm>
            <a:off x="754891" y="1610726"/>
            <a:ext cx="9289473" cy="856962"/>
          </a:xfrm>
        </p:spPr>
        <p:txBody>
          <a:bodyPr lIns="0" tIns="0" rIns="0" bIns="0" anchor="b">
            <a:noAutofit/>
          </a:bodyPr>
          <a:lstStyle>
            <a:lvl1pPr algn="l">
              <a:defRPr sz="4000" b="0" i="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17" name="Subtitle 2"/>
          <p:cNvSpPr>
            <a:spLocks noGrp="1"/>
          </p:cNvSpPr>
          <p:nvPr userDrawn="1">
            <p:ph type="subTitle" idx="1" hasCustomPrompt="1"/>
          </p:nvPr>
        </p:nvSpPr>
        <p:spPr bwMode="auto">
          <a:xfrm>
            <a:off x="754891" y="2542221"/>
            <a:ext cx="9289472" cy="8569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8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 1</a:t>
            </a:r>
            <a:endParaRPr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5"/>
          <a:srcRect l="5940" t="13887" r="74630" b="38085"/>
          <a:stretch/>
        </p:blipFill>
        <p:spPr bwMode="auto">
          <a:xfrm>
            <a:off x="413569" y="6078847"/>
            <a:ext cx="1208628" cy="564027"/>
          </a:xfrm>
          <a:prstGeom prst="rect">
            <a:avLst/>
          </a:prstGeom>
        </p:spPr>
      </p:pic>
      <p:sp>
        <p:nvSpPr>
          <p:cNvPr id="8" name="Espace réservé du pied de page 3"/>
          <p:cNvSpPr>
            <a:spLocks noGrp="1"/>
          </p:cNvSpPr>
          <p:nvPr>
            <p:ph type="ftr" sz="quarter" idx="10"/>
          </p:nvPr>
        </p:nvSpPr>
        <p:spPr bwMode="auto">
          <a:xfrm>
            <a:off x="1676399" y="6203278"/>
            <a:ext cx="88392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2. Titre slide 3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159132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89790" y="1692242"/>
            <a:ext cx="9289473" cy="856962"/>
          </a:xfrm>
        </p:spPr>
        <p:txBody>
          <a:bodyPr lIns="0" tIns="0" rIns="0" bIns="0" anchor="b">
            <a:noAutofit/>
          </a:bodyPr>
          <a:lstStyle>
            <a:lvl1pPr algn="l">
              <a:defRPr sz="4000" b="0" i="0">
                <a:solidFill>
                  <a:schemeClr val="tx1"/>
                </a:solidFill>
                <a:latin typeface="+mj-lt"/>
                <a:cs typeface="Taviraj Medium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589790" y="2743461"/>
            <a:ext cx="9289472" cy="61656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800" b="0" i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en-GB"/>
              <a:t>Subtitle 1</a:t>
            </a:r>
            <a:endParaRPr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 bwMode="auto"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 bwMode="auto"/>
        <p:txBody>
          <a:bodyPr/>
          <a:lstStyle/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159132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>
              <a:latin typeface="Montserrat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oleObj" r:id="rId22" imgW="0" imgH="0" progId="TCLayout.ActiveDocument.1">
                  <p:embed/>
                </p:oleObj>
              </mc:Choice>
              <mc:Fallback>
                <p:oleObj name="oleObj" r:id="rId22" imgW="0" imgH="0" progId="TCLayout.ActiveDocument.1">
                  <p:embed/>
                  <p:pic>
                    <p:nvPicPr>
                      <p:cNvPr id="7" name=""/>
                      <p:cNvPicPr/>
                      <p:nvPr/>
                    </p:nvPicPr>
                    <p:blipFill>
                      <a:blip r:embed="rId23"/>
                      <a:stretch/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552522" y="410322"/>
            <a:ext cx="11088616" cy="6253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>
              <a:defRPr/>
            </a:pPr>
            <a:r>
              <a:rPr lang="en-GB"/>
              <a:t>Tit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552522" y="1168401"/>
            <a:ext cx="11088616" cy="33530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1">
              <a:defRPr/>
            </a:pPr>
            <a:r>
              <a:rPr lang="en-GB"/>
              <a:t>Third level</a:t>
            </a:r>
            <a:endParaRPr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3"/>
          </p:nvPr>
        </p:nvSpPr>
        <p:spPr bwMode="auto">
          <a:xfrm>
            <a:off x="1894006" y="6173787"/>
            <a:ext cx="83167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4"/>
          </p:nvPr>
        </p:nvSpPr>
        <p:spPr bwMode="auto">
          <a:xfrm>
            <a:off x="11074400" y="6201466"/>
            <a:ext cx="5667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5420585-EF40-544B-9E2D-31F92701F945}" type="slidenum">
              <a:rPr lang="en-US"/>
              <a:t>‹#›</a:t>
            </a:fld>
            <a:endParaRPr lang="en-US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4"/>
          <a:stretch/>
        </p:blipFill>
        <p:spPr bwMode="auto">
          <a:xfrm>
            <a:off x="213609" y="6043683"/>
            <a:ext cx="1353024" cy="6253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dt="0"/>
  <p:txStyles>
    <p:titleStyle>
      <a:lvl1pPr algn="l" defTabSz="914400">
        <a:spcBef>
          <a:spcPts val="0"/>
        </a:spcBef>
        <a:buNone/>
        <a:defRPr sz="3200" b="0" i="0">
          <a:solidFill>
            <a:schemeClr val="tx1"/>
          </a:solidFill>
          <a:latin typeface="+mj-lt"/>
          <a:ea typeface="+mj-ea"/>
          <a:cs typeface="Taviraj Medium"/>
        </a:defRPr>
      </a:lvl1pPr>
    </p:titleStyle>
    <p:bodyStyle>
      <a:lvl1pPr marL="0" indent="0" algn="l" defTabSz="914400">
        <a:spcBef>
          <a:spcPts val="600"/>
        </a:spcBef>
        <a:spcAft>
          <a:spcPts val="1200"/>
        </a:spcAft>
        <a:buFont typeface="Arial"/>
        <a:buNone/>
        <a:defRPr sz="1600" b="0" i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>
        <a:spcBef>
          <a:spcPts val="0"/>
        </a:spcBef>
        <a:spcAft>
          <a:spcPts val="600"/>
        </a:spcAft>
        <a:buFont typeface="Arial"/>
        <a:buChar char="•"/>
        <a:defRPr sz="1600" b="0" i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>
        <a:spcBef>
          <a:spcPts val="0"/>
        </a:spcBef>
        <a:spcAft>
          <a:spcPts val="600"/>
        </a:spcAft>
        <a:buFont typeface="Arial"/>
        <a:buNone/>
        <a:defRPr sz="1600" b="0" i="0">
          <a:solidFill>
            <a:schemeClr val="tx1"/>
          </a:solidFill>
          <a:latin typeface="Montserrat Light"/>
          <a:ea typeface="+mn-ea"/>
          <a:cs typeface="+mn-cs"/>
        </a:defRPr>
      </a:lvl3pPr>
      <a:lvl4pPr marL="1600200" indent="-228600" algn="l" defTabSz="914400">
        <a:spcBef>
          <a:spcPts val="0"/>
        </a:spcBef>
        <a:buFont typeface="Arial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spcBef>
          <a:spcPts val="0"/>
        </a:spcBef>
        <a:buFont typeface="Arial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 bwMode="auto"/>
        <p:txBody>
          <a:bodyPr/>
          <a:lstStyle/>
          <a:p>
            <a:pPr>
              <a:defRPr/>
            </a:pPr>
            <a:r>
              <a:rPr lang="en-GB"/>
              <a:t>EF01: Macroeconomics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001" sz="2800" dirty="0"/>
              <a:t>Sources of Fluctuations</a:t>
            </a:r>
            <a:endParaRPr lang="fr-FR" sz="28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5562D6-4331-48AE-A948-58A8F6420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Shock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A508F7D-75D1-485F-9E7C-2F8AA5FED9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oretical Impac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 Placeholder 8"/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6295352" y="2018498"/>
                <a:ext cx="5337050" cy="3910988"/>
              </a:xfrm>
            </p:spPr>
            <p:txBody>
              <a:bodyPr/>
              <a:lstStyle/>
              <a:p>
                <a:r>
                  <a:rPr lang="en-001" dirty="0"/>
                  <a:t>A shock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001" i="1">
                        <a:latin typeface="Cambria Math" panose="02040503050406030204" pitchFamily="18" charset="0"/>
                      </a:rPr>
                      <m:t>𝑑</m:t>
                    </m:r>
                    <m:sSubSup>
                      <m:sSubSupPr>
                        <m:ctrlPr>
                          <a:rPr lang="en-001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001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001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en-001" i="1">
                            <a:latin typeface="Cambria Math" panose="02040503050406030204" pitchFamily="18" charset="0"/>
                          </a:rPr>
                          <m:t>𝑛𝑡</m:t>
                        </m:r>
                      </m:sup>
                    </m:sSubSup>
                  </m:oMath>
                </a14:m>
                <a:r>
                  <a:rPr lang="en-US" dirty="0"/>
                  <a:t> </a:t>
                </a:r>
                <a:r>
                  <a:rPr lang="en-001" dirty="0"/>
                  <a:t>to aggregate demand:</a:t>
                </a:r>
              </a:p>
              <a:p>
                <a:endParaRPr lang="en-001" dirty="0"/>
              </a:p>
              <a:p>
                <a:pPr marL="285750" indent="-285750">
                  <a:buFontTx/>
                  <a:buChar char="-"/>
                </a:pPr>
                <a:r>
                  <a:rPr lang="fr-FR" dirty="0"/>
                  <a:t>Changes</a:t>
                </a:r>
                <a:r>
                  <a:rPr lang="en-001" dirty="0"/>
                  <a:t> output by:</a:t>
                </a:r>
              </a:p>
              <a:p>
                <a:pPr lvl="1" indent="0" algn="ctr">
                  <a:buNone/>
                </a:pPr>
                <a14:m>
                  <m:oMath xmlns:m="http://schemas.openxmlformats.org/officeDocument/2006/math">
                    <m:r>
                      <a:rPr lang="en-001" i="1">
                        <a:latin typeface="Cambria Math" panose="02040503050406030204" pitchFamily="18" charset="0"/>
                      </a:rPr>
                      <m:t>𝑑</m:t>
                    </m:r>
                    <m:sSub>
                      <m:sSubPr>
                        <m:ctrlPr>
                          <a:rPr lang="en-00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001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001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001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00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001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001" i="1">
                                <a:latin typeface="Cambria Math" panose="02040503050406030204" pitchFamily="18" charset="0"/>
                              </a:rPr>
                              <m:t>𝜎𝛾𝜅</m:t>
                            </m:r>
                          </m:num>
                          <m:den>
                            <m:r>
                              <a:rPr lang="en-001" i="1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001" i="1">
                                <a:latin typeface="Cambria Math" panose="02040503050406030204" pitchFamily="18" charset="0"/>
                              </a:rPr>
                              <m:t>𝜎𝛾𝜅</m:t>
                            </m:r>
                          </m:den>
                        </m:f>
                      </m:e>
                    </m:d>
                    <m:r>
                      <a:rPr lang="en-001" b="0" i="1" smtClean="0">
                        <a:latin typeface="Cambria Math" panose="02040503050406030204" pitchFamily="18" charset="0"/>
                      </a:rPr>
                      <m:t>𝑑</m:t>
                    </m:r>
                    <m:sSubSup>
                      <m:sSubSupPr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𝑛𝑡</m:t>
                        </m:r>
                      </m:sup>
                    </m:sSubSup>
                  </m:oMath>
                </a14:m>
                <a:r>
                  <a:rPr lang="en-001" dirty="0"/>
                  <a:t>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Changes </a:t>
                </a:r>
                <a:r>
                  <a:rPr lang="en-001" dirty="0"/>
                  <a:t>inflation by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i="1">
                          <a:latin typeface="Cambria Math" panose="02040503050406030204" pitchFamily="18" charset="0"/>
                        </a:rPr>
                        <m:t>=−</m:t>
                      </m:r>
                      <m:d>
                        <m:d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𝜅</m:t>
                              </m:r>
                            </m:num>
                            <m:den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r>
                        <a:rPr lang="en-001" i="1">
                          <a:latin typeface="Cambria Math" panose="02040503050406030204" pitchFamily="18" charset="0"/>
                        </a:rPr>
                        <m:t>𝑑</m:t>
                      </m:r>
                      <m:sSubSup>
                        <m:sSubSup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𝑛𝑡</m:t>
                          </m:r>
                        </m:sup>
                      </m:sSubSup>
                    </m:oMath>
                  </m:oMathPara>
                </a14:m>
                <a:endParaRPr lang="en-001" dirty="0"/>
              </a:p>
              <a:p>
                <a:endParaRPr lang="en-001" dirty="0"/>
              </a:p>
              <a:p>
                <a:r>
                  <a:rPr lang="en-001" dirty="0"/>
                  <a:t>Parameters are the same as before:</a:t>
                </a:r>
              </a:p>
              <a:p>
                <a:endParaRPr lang="en-001" dirty="0"/>
              </a:p>
              <a:p>
                <a:pPr marL="285750" indent="-285750"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001" i="1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001" dirty="0"/>
                  <a:t>: </a:t>
                </a:r>
                <a:r>
                  <a:rPr lang="en-US" dirty="0"/>
                  <a:t>investment-savings decision from consumers and firms </a:t>
                </a:r>
                <a:endParaRPr lang="en-US" i="1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001" i="1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001" dirty="0"/>
                  <a:t>: reaction of the central bank</a:t>
                </a:r>
              </a:p>
              <a:p>
                <a:pPr marL="285750" indent="-285750"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001" i="1">
                        <a:latin typeface="Cambria Math" panose="02040503050406030204" pitchFamily="18" charset="0"/>
                      </a:rPr>
                      <m:t>𝜅</m:t>
                    </m:r>
                  </m:oMath>
                </a14:m>
                <a:r>
                  <a:rPr lang="en-001" dirty="0"/>
                  <a:t>: linked to the price-setting behaviour of firms</a:t>
                </a:r>
              </a:p>
            </p:txBody>
          </p:sp>
        </mc:Choice>
        <mc:Fallback xmlns="">
          <p:sp>
            <p:nvSpPr>
              <p:cNvPr id="9" name="Text Placeholder 8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6295352" y="2018498"/>
                <a:ext cx="5337050" cy="3910988"/>
              </a:xfrm>
              <a:blipFill>
                <a:blip r:embed="rId2"/>
                <a:stretch>
                  <a:fillRect l="-1943" t="-12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896D859-75FB-4201-B0D6-03F5970BD0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E0B0AC-5163-4F29-A929-E2E16B725BF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10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 dirty="0"/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830620" y="5733256"/>
            <a:ext cx="432048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 bwMode="auto">
          <a:xfrm flipH="1" flipV="1">
            <a:off x="830620" y="2285669"/>
            <a:ext cx="8384" cy="346476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auto">
          <a:xfrm flipV="1">
            <a:off x="1455329" y="3000372"/>
            <a:ext cx="3448048" cy="1958796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auto">
          <a:xfrm>
            <a:off x="1300524" y="2624379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 bwMode="auto">
          <a:xfrm>
            <a:off x="1550700" y="2533213"/>
            <a:ext cx="52290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D</a:t>
            </a:r>
            <a:endParaRPr lang="fr-FR" dirty="0"/>
          </a:p>
        </p:txBody>
      </p:sp>
      <p:sp>
        <p:nvSpPr>
          <p:cNvPr id="17" name="TextBox 16"/>
          <p:cNvSpPr txBox="1"/>
          <p:nvPr/>
        </p:nvSpPr>
        <p:spPr bwMode="auto">
          <a:xfrm>
            <a:off x="1669424" y="4972250"/>
            <a:ext cx="50847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S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 bwMode="auto">
              <a:xfrm>
                <a:off x="5202824" y="5544765"/>
                <a:ext cx="392415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202824" y="5544765"/>
                <a:ext cx="392415" cy="384721"/>
              </a:xfrm>
              <a:prstGeom prst="rect">
                <a:avLst/>
              </a:prstGeom>
              <a:blipFill>
                <a:blip r:embed="rId3"/>
                <a:stretch>
                  <a:fillRect b="-63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 bwMode="auto">
              <a:xfrm>
                <a:off x="515439" y="1950846"/>
                <a:ext cx="401520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𝜋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15439" y="1950846"/>
                <a:ext cx="401520" cy="38472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6" name="Straight Connector 25"/>
          <p:cNvCxnSpPr/>
          <p:nvPr/>
        </p:nvCxnSpPr>
        <p:spPr bwMode="auto">
          <a:xfrm flipV="1">
            <a:off x="1177314" y="2852936"/>
            <a:ext cx="2686438" cy="1533227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 bwMode="auto">
          <a:xfrm flipH="1">
            <a:off x="3575720" y="3140968"/>
            <a:ext cx="97763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405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5562D6-4331-48AE-A948-58A8F6420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contenu 4">
                <a:extLst>
                  <a:ext uri="{FF2B5EF4-FFF2-40B4-BE49-F238E27FC236}">
                    <a16:creationId xmlns:a16="http://schemas.microsoft.com/office/drawing/2014/main" id="{0F830E37-4560-46D5-8D45-E55A857BC333}"/>
                  </a:ext>
                </a:extLst>
              </p:cNvPr>
              <p:cNvSpPr>
                <a:spLocks noGrp="1"/>
              </p:cNvSpPr>
              <p:nvPr>
                <p:ph idx="12"/>
              </p:nvPr>
            </p:nvSpPr>
            <p:spPr>
              <a:xfrm>
                <a:off x="542926" y="1556792"/>
                <a:ext cx="11098211" cy="4392488"/>
              </a:xfrm>
            </p:spPr>
            <p:txBody>
              <a:bodyPr/>
              <a:lstStyle/>
              <a:p>
                <a:r>
                  <a:rPr lang="en-US" dirty="0"/>
                  <a:t>A supply shock is a chock to naural outpu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d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𝑡</m:t>
                        </m:r>
                      </m:sup>
                    </m:sSubSup>
                  </m:oMath>
                </a14:m>
                <a:r>
                  <a:rPr lang="en-US" dirty="0"/>
                  <a:t>.</a:t>
                </a:r>
                <a:endParaRPr lang="en-001" dirty="0"/>
              </a:p>
              <a:p>
                <a:r>
                  <a:rPr lang="en-US" dirty="0"/>
                  <a:t>What does it represent? What causes a positive shift to the supply curve?</a:t>
                </a:r>
                <a:endParaRPr lang="en-001" dirty="0"/>
              </a:p>
              <a:p>
                <a:pPr marL="342900" indent="-342900">
                  <a:buFontTx/>
                  <a:buChar char="-"/>
                </a:pPr>
                <a:r>
                  <a:rPr lang="en-001" dirty="0"/>
                  <a:t>Same changes that affect it in the long run (they affect natural output)</a:t>
                </a:r>
                <a:endParaRPr lang="en-US" dirty="0"/>
              </a:p>
              <a:p>
                <a:pPr marL="342900" indent="-342900">
                  <a:buFontTx/>
                  <a:buChar char="-"/>
                </a:pPr>
                <a:r>
                  <a:rPr lang="en-001" dirty="0"/>
                  <a:t>Changes in the factors of production</a:t>
                </a:r>
                <a:endParaRPr lang="en-US" dirty="0"/>
              </a:p>
              <a:p>
                <a:pPr marL="342900" indent="-342900">
                  <a:buFontTx/>
                  <a:buChar char="-"/>
                </a:pPr>
                <a:r>
                  <a:rPr lang="en-US" dirty="0"/>
                  <a:t>Productivity shock</a:t>
                </a:r>
                <a:endParaRPr lang="en-001" dirty="0"/>
              </a:p>
              <a:p>
                <a:pPr marL="342900" indent="-342900">
                  <a:buFontTx/>
                  <a:buChar char="-"/>
                </a:pPr>
                <a:r>
                  <a:rPr lang="en-US" dirty="0"/>
                  <a:t>Changes to firm’s markups</a:t>
                </a:r>
                <a:endParaRPr lang="en-001" dirty="0"/>
              </a:p>
              <a:p>
                <a:pPr marL="342900" indent="-342900">
                  <a:buFontTx/>
                  <a:buChar char="-"/>
                </a:pPr>
                <a:r>
                  <a:rPr lang="en-001" dirty="0"/>
                  <a:t>Changes in prices expectations</a:t>
                </a:r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5" name="Espace réservé du contenu 4">
                <a:extLst>
                  <a:ext uri="{FF2B5EF4-FFF2-40B4-BE49-F238E27FC236}">
                    <a16:creationId xmlns:a16="http://schemas.microsoft.com/office/drawing/2014/main" id="{0F830E37-4560-46D5-8D45-E55A857BC3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2"/>
              </p:nvPr>
            </p:nvSpPr>
            <p:spPr>
              <a:xfrm>
                <a:off x="542926" y="1556792"/>
                <a:ext cx="11098211" cy="4392488"/>
              </a:xfrm>
              <a:blipFill>
                <a:blip r:embed="rId2"/>
                <a:stretch>
                  <a:fillRect l="-1373" t="-166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896D859-75FB-4201-B0D6-03F5970BD0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E0B0AC-5163-4F29-A929-E2E16B725B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46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5562D6-4331-48AE-A948-58A8F6420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01" dirty="0"/>
              <a:t>Supply Shock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295352" y="764704"/>
            <a:ext cx="5337050" cy="5328593"/>
          </a:xfrm>
        </p:spPr>
        <p:txBody>
          <a:bodyPr/>
          <a:lstStyle/>
          <a:p>
            <a:r>
              <a:rPr lang="en-001" dirty="0"/>
              <a:t>As negative supply shock shifts the AS curve to the left</a:t>
            </a:r>
          </a:p>
          <a:p>
            <a:pPr marL="285750" indent="-285750">
              <a:buFontTx/>
              <a:buChar char="-"/>
            </a:pPr>
            <a:r>
              <a:rPr lang="en-001" dirty="0"/>
              <a:t>H</a:t>
            </a:r>
            <a:r>
              <a:rPr lang="fr-FR" dirty="0"/>
              <a:t>i</a:t>
            </a:r>
            <a:r>
              <a:rPr lang="en-001" dirty="0"/>
              <a:t>gher inflation</a:t>
            </a:r>
          </a:p>
          <a:p>
            <a:pPr marL="285750" indent="-285750">
              <a:buFontTx/>
              <a:buChar char="-"/>
            </a:pPr>
            <a:r>
              <a:rPr lang="en-001" dirty="0"/>
              <a:t>Lower output</a:t>
            </a:r>
          </a:p>
          <a:p>
            <a:pPr marL="285750" indent="-285750">
              <a:buFontTx/>
              <a:buChar char="-"/>
            </a:pPr>
            <a:endParaRPr lang="en-001" dirty="0"/>
          </a:p>
          <a:p>
            <a:r>
              <a:rPr lang="en-001" dirty="0"/>
              <a:t>How can governement and central bank mitigate the shock</a:t>
            </a:r>
            <a:r>
              <a:rPr lang="en-001" dirty="0" smtClean="0"/>
              <a:t>?</a:t>
            </a:r>
          </a:p>
          <a:p>
            <a:r>
              <a:rPr lang="en-001" dirty="0" smtClean="0"/>
              <a:t>- They can’t quickly act on supply</a:t>
            </a:r>
            <a:endParaRPr lang="en-001" dirty="0"/>
          </a:p>
          <a:p>
            <a:pPr marL="285750" indent="-285750">
              <a:buFontTx/>
              <a:buChar char="-"/>
            </a:pPr>
            <a:endParaRPr lang="en-001" dirty="0"/>
          </a:p>
          <a:p>
            <a:r>
              <a:rPr lang="fr-FR" dirty="0"/>
              <a:t>T</a:t>
            </a:r>
            <a:r>
              <a:rPr lang="en-001" dirty="0"/>
              <a:t>he central bank’s reaction is already in the AD curve</a:t>
            </a:r>
          </a:p>
          <a:p>
            <a:pPr marL="285750" indent="-285750">
              <a:buFontTx/>
              <a:buChar char="-"/>
            </a:pPr>
            <a:r>
              <a:rPr lang="en-001" dirty="0"/>
              <a:t>It makes demand react more on inflation (more horizontal)</a:t>
            </a:r>
          </a:p>
          <a:p>
            <a:pPr marL="285750" indent="-285750">
              <a:buFontTx/>
              <a:buChar char="-"/>
            </a:pPr>
            <a:r>
              <a:rPr lang="en-001" dirty="0"/>
              <a:t>MP curve assumed it cares only about inflation</a:t>
            </a:r>
          </a:p>
          <a:p>
            <a:pPr marL="285750" indent="-285750">
              <a:buFontTx/>
              <a:buChar char="-"/>
            </a:pPr>
            <a:r>
              <a:rPr lang="en-001" dirty="0"/>
              <a:t>... so we don’t have a good framework to look at CB’s reaction</a:t>
            </a:r>
          </a:p>
          <a:p>
            <a:pPr marL="285750" indent="-285750">
              <a:buFontTx/>
              <a:buChar char="-"/>
            </a:pPr>
            <a:endParaRPr lang="en-001" dirty="0"/>
          </a:p>
          <a:p>
            <a:r>
              <a:rPr lang="en-001" dirty="0"/>
              <a:t>The government can stimulate demand to counteract the supply shock</a:t>
            </a:r>
          </a:p>
          <a:p>
            <a:pPr marL="285750" indent="-285750">
              <a:buFontTx/>
              <a:buChar char="-"/>
            </a:pPr>
            <a:r>
              <a:rPr lang="fr-FR" dirty="0"/>
              <a:t>W</a:t>
            </a:r>
            <a:r>
              <a:rPr lang="en-001" dirty="0"/>
              <a:t>ith fiscal policies</a:t>
            </a:r>
          </a:p>
          <a:p>
            <a:pPr marL="285750" indent="-285750">
              <a:buFontTx/>
              <a:buChar char="-"/>
            </a:pPr>
            <a:r>
              <a:rPr lang="en-001" dirty="0"/>
              <a:t>But this works only in the short term</a:t>
            </a:r>
          </a:p>
          <a:p>
            <a:pPr marL="285750" indent="-285750">
              <a:buFontTx/>
              <a:buChar char="-"/>
            </a:pPr>
            <a:r>
              <a:rPr lang="en-001" dirty="0"/>
              <a:t>... </a:t>
            </a:r>
            <a:r>
              <a:rPr lang="fr-FR" dirty="0"/>
              <a:t>A</a:t>
            </a:r>
            <a:r>
              <a:rPr lang="en-001" dirty="0"/>
              <a:t>nd raises a few questions (is it efficient? where does money comes from?)</a:t>
            </a:r>
          </a:p>
          <a:p>
            <a:pPr marL="285750" indent="-285750">
              <a:buFontTx/>
              <a:buChar char="-"/>
            </a:pPr>
            <a:r>
              <a:rPr lang="en-001" dirty="0"/>
              <a:t>... More on this later</a:t>
            </a:r>
          </a:p>
          <a:p>
            <a:pPr marL="285750" indent="-285750">
              <a:buFontTx/>
              <a:buChar char="-"/>
            </a:pPr>
            <a:endParaRPr lang="en-001" dirty="0"/>
          </a:p>
          <a:p>
            <a:pPr marL="285750" indent="-285750">
              <a:buFontTx/>
              <a:buChar char="-"/>
            </a:pP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896D859-75FB-4201-B0D6-03F5970BD0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E0B0AC-5163-4F29-A929-E2E16B725BF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12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001" dirty="0"/>
              <a:t>Stabilization Policy</a:t>
            </a:r>
            <a:endParaRPr lang="fr-FR" dirty="0"/>
          </a:p>
        </p:txBody>
      </p:sp>
      <p:cxnSp>
        <p:nvCxnSpPr>
          <p:cNvPr id="11" name="Straight Arrow Connector 10"/>
          <p:cNvCxnSpPr/>
          <p:nvPr/>
        </p:nvCxnSpPr>
        <p:spPr bwMode="auto">
          <a:xfrm>
            <a:off x="830620" y="5733256"/>
            <a:ext cx="432048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auto">
          <a:xfrm flipH="1" flipV="1">
            <a:off x="830620" y="2285669"/>
            <a:ext cx="8384" cy="346476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auto">
          <a:xfrm flipV="1">
            <a:off x="1455329" y="3000372"/>
            <a:ext cx="3448048" cy="1958796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auto">
          <a:xfrm>
            <a:off x="1300524" y="2624379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 bwMode="auto">
          <a:xfrm>
            <a:off x="1550700" y="2533213"/>
            <a:ext cx="52290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D</a:t>
            </a:r>
            <a:endParaRPr lang="fr-FR" dirty="0"/>
          </a:p>
        </p:txBody>
      </p:sp>
      <p:sp>
        <p:nvSpPr>
          <p:cNvPr id="21" name="TextBox 20"/>
          <p:cNvSpPr txBox="1"/>
          <p:nvPr/>
        </p:nvSpPr>
        <p:spPr bwMode="auto">
          <a:xfrm>
            <a:off x="1669424" y="4972250"/>
            <a:ext cx="50847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S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 bwMode="auto">
              <a:xfrm>
                <a:off x="5202824" y="5544765"/>
                <a:ext cx="392415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202824" y="5544765"/>
                <a:ext cx="392415" cy="384721"/>
              </a:xfrm>
              <a:prstGeom prst="rect">
                <a:avLst/>
              </a:prstGeom>
              <a:blipFill>
                <a:blip r:embed="rId2"/>
                <a:stretch>
                  <a:fillRect b="-63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 bwMode="auto">
              <a:xfrm>
                <a:off x="515439" y="1950846"/>
                <a:ext cx="401520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𝜋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15439" y="1950846"/>
                <a:ext cx="401520" cy="38472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Straight Connector 35"/>
          <p:cNvCxnSpPr/>
          <p:nvPr/>
        </p:nvCxnSpPr>
        <p:spPr bwMode="auto">
          <a:xfrm flipV="1">
            <a:off x="1143022" y="2533213"/>
            <a:ext cx="3296794" cy="185479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 bwMode="auto">
          <a:xfrm flipH="1">
            <a:off x="3649407" y="2979427"/>
            <a:ext cx="125397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 bwMode="auto">
          <a:xfrm flipH="1">
            <a:off x="4660372" y="3483720"/>
            <a:ext cx="186973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001" dirty="0"/>
              <a:t>Supply</a:t>
            </a:r>
          </a:p>
          <a:p>
            <a:r>
              <a:rPr lang="en-001" dirty="0"/>
              <a:t>shock</a:t>
            </a:r>
            <a:endParaRPr lang="fr-FR" dirty="0"/>
          </a:p>
        </p:txBody>
      </p:sp>
      <p:cxnSp>
        <p:nvCxnSpPr>
          <p:cNvPr id="46" name="Straight Connector 45"/>
          <p:cNvCxnSpPr/>
          <p:nvPr/>
        </p:nvCxnSpPr>
        <p:spPr bwMode="auto">
          <a:xfrm>
            <a:off x="2184970" y="2592657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 bwMode="auto">
          <a:xfrm>
            <a:off x="4510611" y="5014041"/>
            <a:ext cx="900295" cy="45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 bwMode="auto">
          <a:xfrm>
            <a:off x="3143672" y="2060848"/>
            <a:ext cx="0" cy="32961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 bwMode="auto">
          <a:xfrm>
            <a:off x="4383867" y="5207939"/>
            <a:ext cx="1502334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Stabiliz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1356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01" dirty="0" smtClean="0"/>
              <a:t>Main Takeaways</a:t>
            </a:r>
            <a:endParaRPr lang="fr-FR" dirty="0"/>
          </a:p>
        </p:txBody>
      </p:sp>
      <p:sp>
        <p:nvSpPr>
          <p:cNvPr id="15" name="Content Placeholder 14"/>
          <p:cNvSpPr>
            <a:spLocks noGrp="1"/>
          </p:cNvSpPr>
          <p:nvPr>
            <p:ph idx="12"/>
          </p:nvPr>
        </p:nvSpPr>
        <p:spPr>
          <a:xfrm>
            <a:off x="542926" y="1268760"/>
            <a:ext cx="11098211" cy="4536504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001" dirty="0" smtClean="0"/>
              <a:t>A</a:t>
            </a:r>
            <a:r>
              <a:rPr lang="fr-FR" dirty="0" smtClean="0"/>
              <a:t>f</a:t>
            </a:r>
            <a:r>
              <a:rPr lang="en-001" dirty="0" smtClean="0"/>
              <a:t>ter our model, in the short term:</a:t>
            </a:r>
          </a:p>
          <a:p>
            <a:pPr marL="628650" lvl="1" indent="-342900">
              <a:buFontTx/>
              <a:buChar char="-"/>
            </a:pPr>
            <a:r>
              <a:rPr lang="en-001" dirty="0" smtClean="0"/>
              <a:t>(positive) Demand shocks imply a rise in inflation and an increase in output</a:t>
            </a:r>
          </a:p>
          <a:p>
            <a:pPr marL="628650" lvl="1" indent="-342900">
              <a:buFontTx/>
              <a:buChar char="-"/>
            </a:pPr>
            <a:r>
              <a:rPr lang="en-001" dirty="0" smtClean="0"/>
              <a:t>(positive) Supply shocks imply a decrease in inflation and an increase in output</a:t>
            </a:r>
          </a:p>
          <a:p>
            <a:pPr marL="342900" indent="-342900">
              <a:buFontTx/>
              <a:buChar char="-"/>
            </a:pPr>
            <a:r>
              <a:rPr lang="en-001" dirty="0" smtClean="0"/>
              <a:t>After a lasting demand shock</a:t>
            </a:r>
          </a:p>
          <a:p>
            <a:pPr marL="628650" lvl="1" indent="-342900">
              <a:buFontTx/>
              <a:buChar char="-"/>
            </a:pPr>
            <a:r>
              <a:rPr lang="en-001" dirty="0" smtClean="0"/>
              <a:t>As prices adjust, initial output increase is reversed </a:t>
            </a:r>
          </a:p>
          <a:p>
            <a:pPr marL="628650" lvl="1" indent="-342900">
              <a:buFontTx/>
              <a:buChar char="-"/>
            </a:pPr>
            <a:r>
              <a:rPr lang="en-001" dirty="0" smtClean="0"/>
              <a:t>When </a:t>
            </a:r>
            <a:r>
              <a:rPr lang="en-001" smtClean="0"/>
              <a:t>demand falls </a:t>
            </a:r>
            <a:r>
              <a:rPr lang="en-001" dirty="0" smtClean="0"/>
              <a:t>back to normal, inflation comes back to natural level</a:t>
            </a:r>
          </a:p>
          <a:p>
            <a:pPr marL="628650" lvl="1" indent="-342900">
              <a:buFontTx/>
              <a:buChar char="-"/>
            </a:pPr>
            <a:r>
              <a:rPr lang="en-001" dirty="0" smtClean="0"/>
              <a:t>Real world dynamics also feature lags between reactions of output and inflation</a:t>
            </a:r>
          </a:p>
          <a:p>
            <a:pPr marL="342900" indent="-342900">
              <a:buFontTx/>
              <a:buChar char="-"/>
            </a:pPr>
            <a:r>
              <a:rPr lang="en-001" dirty="0" smtClean="0"/>
              <a:t>Monetary and fiscal policy can reverse demand shocks in the short term</a:t>
            </a:r>
          </a:p>
          <a:p>
            <a:pPr marL="342900" indent="-342900">
              <a:buFontTx/>
              <a:buChar char="-"/>
            </a:pPr>
            <a:r>
              <a:rPr lang="en-001" dirty="0" smtClean="0"/>
              <a:t>Supply shocks can’t be directly conteracted but..</a:t>
            </a:r>
          </a:p>
          <a:p>
            <a:pPr marL="628650" lvl="1" indent="-342900">
              <a:buFontTx/>
              <a:buChar char="-"/>
            </a:pPr>
            <a:r>
              <a:rPr lang="fr-FR" dirty="0" smtClean="0"/>
              <a:t>D</a:t>
            </a:r>
            <a:r>
              <a:rPr lang="en-001" dirty="0" smtClean="0"/>
              <a:t>emand policies can accomodate them in the short term (until prices adjust)</a:t>
            </a:r>
          </a:p>
          <a:p>
            <a:pPr marL="342900" indent="-342900">
              <a:buFontTx/>
              <a:buChar char="-"/>
            </a:pPr>
            <a:endParaRPr lang="en-001" dirty="0" smtClean="0"/>
          </a:p>
          <a:p>
            <a:pPr marL="628650" lvl="1" indent="-342900">
              <a:buFontTx/>
              <a:buChar char="-"/>
            </a:pPr>
            <a:endParaRPr lang="en-001" dirty="0" smtClean="0"/>
          </a:p>
          <a:p>
            <a:pPr marL="342900" indent="-342900">
              <a:buFontTx/>
              <a:buChar char="-"/>
            </a:pPr>
            <a:endParaRPr lang="en-001" dirty="0" smtClean="0"/>
          </a:p>
          <a:p>
            <a:pPr marL="628650" lvl="1" indent="-342900">
              <a:buFontTx/>
              <a:buChar char="-"/>
            </a:pPr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912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01" dirty="0"/>
              <a:t>Program</a:t>
            </a:r>
            <a:endParaRPr lang="fr-FR" dirty="0"/>
          </a:p>
        </p:txBody>
      </p:sp>
      <p:sp>
        <p:nvSpPr>
          <p:cNvPr id="10" name="TextBox 9"/>
          <p:cNvSpPr txBox="1"/>
          <p:nvPr/>
        </p:nvSpPr>
        <p:spPr bwMode="auto">
          <a:xfrm>
            <a:off x="6456040" y="1840468"/>
            <a:ext cx="4953717" cy="330859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001" dirty="0"/>
              <a:t>This Session: sources of fluctations</a:t>
            </a:r>
          </a:p>
          <a:p>
            <a:endParaRPr lang="en-001" dirty="0"/>
          </a:p>
          <a:p>
            <a:pPr marL="342900" indent="-342900">
              <a:buFontTx/>
              <a:buChar char="-"/>
            </a:pPr>
            <a:r>
              <a:rPr lang="en-001" dirty="0"/>
              <a:t>Derive Equilibrium</a:t>
            </a:r>
          </a:p>
          <a:p>
            <a:pPr marL="342900" indent="-342900">
              <a:buFontTx/>
              <a:buChar char="-"/>
            </a:pPr>
            <a:r>
              <a:rPr lang="en-001" dirty="0"/>
              <a:t>Aggregate Demand Shock</a:t>
            </a:r>
          </a:p>
          <a:p>
            <a:pPr marL="821808" lvl="1" indent="-342900">
              <a:buFontTx/>
              <a:buChar char="-"/>
            </a:pPr>
            <a:r>
              <a:rPr lang="fr-FR" dirty="0"/>
              <a:t>S</a:t>
            </a:r>
            <a:r>
              <a:rPr lang="en-001" dirty="0"/>
              <a:t>hort term</a:t>
            </a:r>
          </a:p>
          <a:p>
            <a:pPr marL="821808" lvl="1" indent="-342900">
              <a:buFontTx/>
              <a:buChar char="-"/>
            </a:pPr>
            <a:r>
              <a:rPr lang="en-001" dirty="0"/>
              <a:t>Dynamics</a:t>
            </a:r>
          </a:p>
          <a:p>
            <a:pPr marL="342900" indent="-342900">
              <a:buFontTx/>
              <a:buChar char="-"/>
            </a:pPr>
            <a:r>
              <a:rPr lang="en-001" dirty="0"/>
              <a:t>Aggregate Supply Shock</a:t>
            </a:r>
          </a:p>
          <a:p>
            <a:pPr marL="342900" indent="-342900">
              <a:buFontTx/>
              <a:buChar char="-"/>
            </a:pPr>
            <a:endParaRPr lang="en-001" dirty="0"/>
          </a:p>
          <a:p>
            <a:r>
              <a:rPr lang="en-001" dirty="0"/>
              <a:t>This is a recap session. Make sure you follow the overal approach and work on the intuitions.</a:t>
            </a:r>
          </a:p>
        </p:txBody>
      </p:sp>
      <p:sp>
        <p:nvSpPr>
          <p:cNvPr id="9" name="TextBox 8"/>
          <p:cNvSpPr txBox="1"/>
          <p:nvPr/>
        </p:nvSpPr>
        <p:spPr bwMode="auto">
          <a:xfrm>
            <a:off x="756555" y="2132856"/>
            <a:ext cx="4680520" cy="272382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001" dirty="0"/>
              <a:t>Sessions Program:</a:t>
            </a:r>
          </a:p>
          <a:p>
            <a:endParaRPr lang="en-001" dirty="0"/>
          </a:p>
          <a:p>
            <a:pPr marL="342900" indent="-342900">
              <a:buFontTx/>
              <a:buChar char="-"/>
            </a:pPr>
            <a:r>
              <a:rPr lang="en-001" dirty="0"/>
              <a:t>Refresher and Introduction to AS/AD</a:t>
            </a:r>
          </a:p>
          <a:p>
            <a:pPr marL="342900" indent="-342900">
              <a:buFontTx/>
              <a:buChar char="-"/>
            </a:pPr>
            <a:r>
              <a:rPr lang="en-001" dirty="0"/>
              <a:t>Aggregate Demand</a:t>
            </a:r>
          </a:p>
          <a:p>
            <a:pPr marL="342900" indent="-342900">
              <a:buFontTx/>
              <a:buChar char="-"/>
            </a:pPr>
            <a:r>
              <a:rPr lang="en-001" dirty="0"/>
              <a:t>Aggregate Supply</a:t>
            </a:r>
          </a:p>
          <a:p>
            <a:pPr marL="342900" indent="-342900">
              <a:buFontTx/>
              <a:buChar char="-"/>
            </a:pPr>
            <a:r>
              <a:rPr lang="en-001" dirty="0"/>
              <a:t>Sources of Fluctations and Exercises</a:t>
            </a:r>
          </a:p>
          <a:p>
            <a:pPr marL="342900" indent="-342900">
              <a:buFontTx/>
              <a:buChar char="-"/>
            </a:pPr>
            <a:r>
              <a:rPr lang="en-001" dirty="0"/>
              <a:t>Monetary Policy</a:t>
            </a:r>
          </a:p>
          <a:p>
            <a:pPr marL="342900" indent="-342900">
              <a:buFontTx/>
              <a:buChar char="-"/>
            </a:pPr>
            <a:r>
              <a:rPr lang="en-001" dirty="0"/>
              <a:t>Open Economy</a:t>
            </a:r>
          </a:p>
          <a:p>
            <a:pPr marL="342900" indent="-342900">
              <a:buFontTx/>
              <a:buChar char="-"/>
            </a:pP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74598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01" dirty="0"/>
              <a:t>AS/AD Equilibrium</a:t>
            </a:r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Content Placeholder 6"/>
              <p:cNvSpPr>
                <a:spLocks noGrp="1"/>
              </p:cNvSpPr>
              <p:nvPr>
                <p:ph idx="12"/>
              </p:nvPr>
            </p:nvSpPr>
            <p:spPr>
              <a:xfrm>
                <a:off x="531450" y="2204864"/>
                <a:ext cx="11098211" cy="3528392"/>
              </a:xfrm>
            </p:spPr>
            <p:txBody>
              <a:bodyPr/>
              <a:lstStyle/>
              <a:p>
                <a:r>
                  <a:rPr lang="en-001" dirty="0" smtClean="0"/>
                  <a:t>Recall our model:</a:t>
                </a:r>
              </a:p>
              <a:p>
                <a:r>
                  <a:rPr lang="en-001" dirty="0" smtClean="0"/>
                  <a:t>- </a:t>
                </a:r>
                <a:r>
                  <a:rPr lang="en-001" dirty="0"/>
                  <a:t>Aggregate Demand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𝜎𝛾</m:t>
                      </m:r>
                      <m:d>
                        <m:d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acc>
                            <m:accPr>
                              <m:chr m:val="̅"/>
                              <m:ctrlP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acc>
                        </m:e>
                      </m:d>
                    </m:oMath>
                  </m:oMathPara>
                </a14:m>
                <a:endParaRPr lang="en-001" dirty="0"/>
              </a:p>
              <a:p>
                <a:r>
                  <a:rPr lang="en-001" dirty="0"/>
                  <a:t>- Aggregate Supply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𝜅</m:t>
                      </m:r>
                      <m:d>
                        <m:d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en-001" dirty="0"/>
              </a:p>
              <a:p>
                <a:r>
                  <a:rPr lang="en-001" dirty="0"/>
                  <a:t>Taking past infla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r>
                  <a:rPr lang="en-001" dirty="0"/>
                  <a:t> and inflation target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</m:acc>
                  </m:oMath>
                </a14:m>
                <a:r>
                  <a:rPr lang="en-001" dirty="0"/>
                  <a:t> as given, we can solve for the (</a:t>
                </a:r>
                <a:r>
                  <a:rPr lang="en-001" dirty="0" smtClean="0"/>
                  <a:t>infla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001" dirty="0" smtClean="0"/>
                  <a:t>/ outpu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001" dirty="0" smtClean="0"/>
                  <a:t>) </a:t>
                </a:r>
                <a:r>
                  <a:rPr lang="en-001" dirty="0"/>
                  <a:t>pair that corresponds to the shock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001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001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001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001" dirty="0"/>
                  <a:t>).</a:t>
                </a:r>
              </a:p>
            </p:txBody>
          </p:sp>
        </mc:Choice>
        <mc:Fallback>
          <p:sp>
            <p:nvSpPr>
              <p:cNvPr id="7" name="Content Placeholder 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2"/>
              </p:nvPr>
            </p:nvSpPr>
            <p:spPr>
              <a:xfrm>
                <a:off x="531450" y="2204864"/>
                <a:ext cx="11098211" cy="3528392"/>
              </a:xfrm>
              <a:blipFill>
                <a:blip r:embed="rId2"/>
                <a:stretch>
                  <a:fillRect l="-1373" t="-207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379033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001"/>
              <a:t>Short-Term Effect of Shocks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4"/>
              <p:cNvSpPr>
                <a:spLocks noGrp="1"/>
              </p:cNvSpPr>
              <p:nvPr>
                <p:ph idx="12"/>
              </p:nvPr>
            </p:nvSpPr>
            <p:spPr>
              <a:xfrm>
                <a:off x="542926" y="2060848"/>
                <a:ext cx="11098211" cy="3816424"/>
              </a:xfrm>
            </p:spPr>
            <p:txBody>
              <a:bodyPr/>
              <a:lstStyle/>
              <a:p>
                <a:r>
                  <a:rPr lang="en-001" b="0" dirty="0">
                    <a:latin typeface="Cambria Math" panose="02040503050406030204" pitchFamily="18" charset="0"/>
                  </a:rPr>
                  <a:t>We obtain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𝑐𝑜𝑛𝑠𝑡𝑎𝑛𝑡</m:t>
                      </m:r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sSub>
                        <m:sSub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num>
                            <m:den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sSubSup>
                        <m:sSubSup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</m:sSubSup>
                    </m:oMath>
                  </m:oMathPara>
                </a14:m>
                <a:endParaRPr lang="en-001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001" i="1">
                          <a:latin typeface="Cambria Math" panose="02040503050406030204" pitchFamily="18" charset="0"/>
                        </a:rPr>
                        <m:t>𝑐𝑜𝑛𝑠𝑡𝑎𝑛𝑡</m:t>
                      </m:r>
                      <m:r>
                        <a:rPr lang="en-001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b="0" i="1" smtClean="0">
                                  <a:latin typeface="Cambria Math" panose="02040503050406030204" pitchFamily="18" charset="0"/>
                                </a:rPr>
                                <m:t>𝜅</m:t>
                              </m:r>
                            </m:num>
                            <m:den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𝜅</m:t>
                              </m:r>
                            </m:num>
                            <m:den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sSubSup>
                        <m:sSubSup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</m:sSubSup>
                    </m:oMath>
                  </m:oMathPara>
                </a14:m>
                <a:endParaRPr lang="fr-FR" dirty="0"/>
              </a:p>
              <a:p>
                <a:r>
                  <a:rPr lang="fr-FR" dirty="0" err="1"/>
                  <a:t>Terms</a:t>
                </a:r>
                <a:r>
                  <a:rPr lang="fr-FR" dirty="0"/>
                  <a:t> in </a:t>
                </a:r>
                <a:r>
                  <a:rPr lang="fr-FR" dirty="0" err="1"/>
                  <a:t>brackets</a:t>
                </a:r>
                <a:r>
                  <a:rPr lang="fr-FR" dirty="0"/>
                  <a:t> are </a:t>
                </a:r>
                <a:r>
                  <a:rPr lang="fr-FR" dirty="0" err="1"/>
                  <a:t>called</a:t>
                </a:r>
                <a:r>
                  <a:rPr lang="fr-FR" dirty="0"/>
                  <a:t> « </a:t>
                </a:r>
                <a:r>
                  <a:rPr lang="fr-FR" dirty="0" err="1"/>
                  <a:t>multipliers</a:t>
                </a:r>
                <a:r>
                  <a:rPr lang="fr-FR" dirty="0"/>
                  <a:t> »</a:t>
                </a:r>
                <a:endParaRPr lang="en-001" dirty="0"/>
              </a:p>
              <a:p>
                <a:r>
                  <a:rPr lang="en-001" dirty="0"/>
                  <a:t>We see they have the expected sign</a:t>
                </a:r>
              </a:p>
              <a:p>
                <a:r>
                  <a:rPr lang="en-001" dirty="0"/>
                  <a:t>Let’s look briefly at how we can interpret their effect.</a:t>
                </a:r>
              </a:p>
            </p:txBody>
          </p:sp>
        </mc:Choice>
        <mc:Fallback xmlns="">
          <p:sp>
            <p:nvSpPr>
              <p:cNvPr id="5" name="Content Placehold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2"/>
              </p:nvPr>
            </p:nvSpPr>
            <p:spPr>
              <a:xfrm>
                <a:off x="542926" y="2060848"/>
                <a:ext cx="11098211" cy="3816424"/>
              </a:xfrm>
              <a:blipFill>
                <a:blip r:embed="rId2"/>
                <a:stretch>
                  <a:fillRect l="-1373" t="-20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275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5562D6-4331-48AE-A948-58A8F6420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and Shock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Espace réservé du contenu 4">
                <a:extLst>
                  <a:ext uri="{FF2B5EF4-FFF2-40B4-BE49-F238E27FC236}">
                    <a16:creationId xmlns:a16="http://schemas.microsoft.com/office/drawing/2014/main" id="{0F830E37-4560-46D5-8D45-E55A857BC333}"/>
                  </a:ext>
                </a:extLst>
              </p:cNvPr>
              <p:cNvSpPr>
                <a:spLocks noGrp="1"/>
              </p:cNvSpPr>
              <p:nvPr>
                <p:ph idx="12"/>
              </p:nvPr>
            </p:nvSpPr>
            <p:spPr>
              <a:xfrm>
                <a:off x="562119" y="1625209"/>
                <a:ext cx="11098211" cy="3816424"/>
              </a:xfrm>
            </p:spPr>
            <p:txBody>
              <a:bodyPr/>
              <a:lstStyle/>
              <a:p>
                <a:r>
                  <a:rPr lang="en-US" dirty="0"/>
                  <a:t>What does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dirty="0"/>
                  <a:t> represent? What causes a </a:t>
                </a:r>
                <a:r>
                  <a:rPr lang="en-001" dirty="0"/>
                  <a:t>negative</a:t>
                </a:r>
                <a:r>
                  <a:rPr lang="en-US" dirty="0"/>
                  <a:t> shift to the demand curve?</a:t>
                </a:r>
              </a:p>
              <a:p>
                <a:pPr marL="342900" indent="-342900">
                  <a:buFontTx/>
                  <a:buChar char="-"/>
                </a:pPr>
                <a:r>
                  <a:rPr lang="en-US" dirty="0"/>
                  <a:t>Changes in consumer’s preferences (desire to consume)</a:t>
                </a:r>
              </a:p>
              <a:p>
                <a:pPr marL="342900" indent="-342900">
                  <a:buFontTx/>
                  <a:buChar char="-"/>
                </a:pPr>
                <a:r>
                  <a:rPr lang="en-US" dirty="0"/>
                  <a:t>Changes in consumer’s and firm’s expectations (about their future) income</a:t>
                </a:r>
              </a:p>
              <a:p>
                <a:pPr marL="342900" indent="-342900">
                  <a:buFontTx/>
                  <a:buChar char="-"/>
                </a:pPr>
                <a:r>
                  <a:rPr lang="en-US" dirty="0"/>
                  <a:t>Lower uncertainty in consumer’s and firms forecasts</a:t>
                </a:r>
                <a:endParaRPr lang="en-001" dirty="0"/>
              </a:p>
              <a:p>
                <a:pPr marL="342900" indent="-342900">
                  <a:buFontTx/>
                  <a:buChar char="-"/>
                </a:pPr>
                <a:r>
                  <a:rPr lang="en-001" dirty="0"/>
                  <a:t>Shifts arising from net exports (demand for domestic goods, exchange rate fluctuations)</a:t>
                </a:r>
                <a:endParaRPr lang="en-US" dirty="0"/>
              </a:p>
              <a:p>
                <a:pPr marL="342900" indent="-342900">
                  <a:buFontTx/>
                  <a:buChar char="-"/>
                </a:pPr>
                <a:r>
                  <a:rPr lang="en-001" i="1" dirty="0"/>
                  <a:t>Changes</a:t>
                </a:r>
                <a:r>
                  <a:rPr lang="en-001" dirty="0"/>
                  <a:t> in the central bank’s monetary </a:t>
                </a:r>
                <a:r>
                  <a:rPr lang="en-001" dirty="0" smtClean="0"/>
                  <a:t>policy (e.g. </a:t>
                </a:r>
                <a:r>
                  <a:rPr lang="fr-FR" dirty="0" smtClean="0"/>
                  <a:t>I</a:t>
                </a:r>
                <a:r>
                  <a:rPr lang="en-001" dirty="0" smtClean="0"/>
                  <a:t>nterest rate hikes)</a:t>
                </a:r>
                <a:endParaRPr lang="en-US" dirty="0"/>
              </a:p>
              <a:p>
                <a:pPr marL="342900" indent="-342900">
                  <a:buFontTx/>
                  <a:buChar char="-"/>
                </a:pPr>
                <a:r>
                  <a:rPr lang="en-001" dirty="0" smtClean="0"/>
                  <a:t>Reduction of government </a:t>
                </a:r>
                <a:r>
                  <a:rPr lang="en-001" dirty="0"/>
                  <a:t>purchases</a:t>
                </a:r>
              </a:p>
              <a:p>
                <a:endParaRPr lang="en-001" dirty="0"/>
              </a:p>
              <a:p>
                <a:pPr marL="342900" indent="-342900">
                  <a:buFontTx/>
                  <a:buChar char="-"/>
                </a:pPr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>
          <p:sp>
            <p:nvSpPr>
              <p:cNvPr id="5" name="Espace réservé du contenu 4">
                <a:extLst>
                  <a:ext uri="{FF2B5EF4-FFF2-40B4-BE49-F238E27FC236}">
                    <a16:creationId xmlns:a16="http://schemas.microsoft.com/office/drawing/2014/main" id="{0F830E37-4560-46D5-8D45-E55A857BC3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2"/>
              </p:nvPr>
            </p:nvSpPr>
            <p:spPr>
              <a:xfrm>
                <a:off x="562119" y="1625209"/>
                <a:ext cx="11098211" cy="3816424"/>
              </a:xfrm>
              <a:blipFill>
                <a:blip r:embed="rId2"/>
                <a:stretch>
                  <a:fillRect l="-1373" t="-1917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896D859-75FB-4201-B0D6-03F5970BD0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E0B0AC-5163-4F29-A929-E2E16B725B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2075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5562D6-4331-48AE-A948-58A8F6420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and Shock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 Placeholder 7"/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6266023" y="1116324"/>
                <a:ext cx="5337050" cy="4349866"/>
              </a:xfrm>
            </p:spPr>
            <p:txBody>
              <a:bodyPr/>
              <a:lstStyle/>
              <a:p>
                <a:r>
                  <a:rPr lang="en-001" dirty="0"/>
                  <a:t>A shock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𝑑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001" dirty="0"/>
                  <a:t> to aggregate demand:</a:t>
                </a:r>
              </a:p>
              <a:p>
                <a:endParaRPr lang="en-001" dirty="0"/>
              </a:p>
              <a:p>
                <a:pPr marL="285750" indent="-285750">
                  <a:buFontTx/>
                  <a:buChar char="-"/>
                </a:pPr>
                <a:r>
                  <a:rPr lang="fr-FR" dirty="0"/>
                  <a:t>Changes</a:t>
                </a:r>
                <a:r>
                  <a:rPr lang="en-001" dirty="0"/>
                  <a:t> output by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001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001" dirty="0"/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Changes</a:t>
                </a:r>
                <a:r>
                  <a:rPr lang="en-001" dirty="0"/>
                  <a:t> inflation by:</a:t>
                </a:r>
              </a:p>
              <a:p>
                <a:pPr marL="285750" indent="-285750">
                  <a:buFontTx/>
                  <a:buChar char="-"/>
                </a:pPr>
                <a:endParaRPr lang="en-001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001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𝜅</m:t>
                              </m:r>
                            </m:num>
                            <m:den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001" i="1">
                                  <a:latin typeface="Cambria Math" panose="02040503050406030204" pitchFamily="18" charset="0"/>
                                </a:rPr>
                                <m:t>𝜎𝛾𝜅</m:t>
                              </m:r>
                            </m:den>
                          </m:f>
                        </m:e>
                      </m:d>
                      <m:sSub>
                        <m:sSubPr>
                          <m:ctrlPr>
                            <a:rPr lang="en-00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001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001" dirty="0"/>
              </a:p>
              <a:p>
                <a:r>
                  <a:rPr lang="en-001" dirty="0"/>
                  <a:t>We see the crucial parameters:</a:t>
                </a:r>
              </a:p>
              <a:p>
                <a:pPr marL="285750" indent="-285750"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001" b="0" i="1" smtClean="0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US" dirty="0"/>
                  <a:t>: investment-savings decision from consumers and firms</a:t>
                </a:r>
                <a:endParaRPr lang="en-001" dirty="0"/>
              </a:p>
              <a:p>
                <a:pPr marL="285750" indent="-285750"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001" b="0" i="1" smtClean="0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001" dirty="0"/>
                  <a:t>: reaction of the central bank</a:t>
                </a:r>
              </a:p>
              <a:p>
                <a:pPr marL="285750" indent="-285750"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001" b="0" i="1" smtClean="0">
                        <a:latin typeface="Cambria Math" panose="02040503050406030204" pitchFamily="18" charset="0"/>
                      </a:rPr>
                      <m:t>𝜅</m:t>
                    </m:r>
                  </m:oMath>
                </a14:m>
                <a:r>
                  <a:rPr lang="en-001" dirty="0"/>
                  <a:t>: linked to the price-setting behaviour of firms</a:t>
                </a:r>
                <a:endParaRPr lang="en-US" dirty="0"/>
              </a:p>
              <a:p>
                <a:pPr marL="426150" lvl="1" indent="-285750">
                  <a:buFontTx/>
                  <a:buChar char="-"/>
                </a:pPr>
                <a:r>
                  <a:rPr lang="en-US" dirty="0"/>
                  <a:t>Larger when more firms adjust</a:t>
                </a:r>
                <a:endParaRPr lang="en-001" dirty="0"/>
              </a:p>
              <a:p>
                <a:pPr marL="285750" indent="-285750">
                  <a:buFontTx/>
                  <a:buChar char="-"/>
                </a:pPr>
                <a:endParaRPr lang="en-001" dirty="0"/>
              </a:p>
              <a:p>
                <a:r>
                  <a:rPr lang="en-001" dirty="0"/>
                  <a:t>Can we tell an intuitive story using the mechanisms we have seen so far?</a:t>
                </a:r>
              </a:p>
            </p:txBody>
          </p:sp>
        </mc:Choice>
        <mc:Fallback>
          <p:sp>
            <p:nvSpPr>
              <p:cNvPr id="8" name="Text Placehold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6266023" y="1116324"/>
                <a:ext cx="5337050" cy="4349866"/>
              </a:xfrm>
              <a:blipFill>
                <a:blip r:embed="rId2"/>
                <a:stretch>
                  <a:fillRect l="-1943" t="-1120" b="-476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896D859-75FB-4201-B0D6-03F5970BD0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E0B0AC-5163-4F29-A929-E2E16B725BF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6</a:t>
            </a:fld>
            <a:endParaRPr lang="en-US"/>
          </a:p>
        </p:txBody>
      </p:sp>
      <p:cxnSp>
        <p:nvCxnSpPr>
          <p:cNvPr id="11" name="Straight Arrow Connector 10"/>
          <p:cNvCxnSpPr/>
          <p:nvPr/>
        </p:nvCxnSpPr>
        <p:spPr bwMode="auto">
          <a:xfrm>
            <a:off x="623392" y="5466578"/>
            <a:ext cx="432048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auto">
          <a:xfrm flipH="1" flipV="1">
            <a:off x="623392" y="2018991"/>
            <a:ext cx="8384" cy="346476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auto">
          <a:xfrm flipV="1">
            <a:off x="1248101" y="2733694"/>
            <a:ext cx="3448048" cy="1958796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auto">
          <a:xfrm>
            <a:off x="1093296" y="2357701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 bwMode="auto">
          <a:xfrm>
            <a:off x="1343472" y="2266535"/>
            <a:ext cx="52290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D</a:t>
            </a:r>
            <a:endParaRPr lang="fr-FR" dirty="0"/>
          </a:p>
        </p:txBody>
      </p:sp>
      <p:sp>
        <p:nvSpPr>
          <p:cNvPr id="16" name="TextBox 15"/>
          <p:cNvSpPr txBox="1"/>
          <p:nvPr/>
        </p:nvSpPr>
        <p:spPr bwMode="auto">
          <a:xfrm>
            <a:off x="1462196" y="4705572"/>
            <a:ext cx="50847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S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 bwMode="auto">
              <a:xfrm>
                <a:off x="4995596" y="5278087"/>
                <a:ext cx="392415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995596" y="5278087"/>
                <a:ext cx="392415" cy="384721"/>
              </a:xfrm>
              <a:prstGeom prst="rect">
                <a:avLst/>
              </a:prstGeom>
              <a:blipFill>
                <a:blip r:embed="rId3"/>
                <a:stretch>
                  <a:fillRect b="-63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Straight Arrow Connector 18"/>
          <p:cNvCxnSpPr/>
          <p:nvPr/>
        </p:nvCxnSpPr>
        <p:spPr bwMode="auto">
          <a:xfrm>
            <a:off x="3970529" y="4458466"/>
            <a:ext cx="79356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auto">
          <a:xfrm>
            <a:off x="2023751" y="2258150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 bwMode="auto">
              <a:xfrm>
                <a:off x="654570" y="1826630"/>
                <a:ext cx="401520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𝜋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54570" y="1826630"/>
                <a:ext cx="401520" cy="38472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27611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6BB4B3F-978F-47F1-902A-7DF88BA4C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and Shock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9229D8E-C983-4F62-AEE6-4250F8FFBB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oretical Impact: Short Run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77AA873E-2C41-413C-B8F3-EEF418E6D65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42926" y="1772816"/>
            <a:ext cx="11098211" cy="4248472"/>
          </a:xfrm>
        </p:spPr>
        <p:txBody>
          <a:bodyPr/>
          <a:lstStyle/>
          <a:p>
            <a:r>
              <a:rPr lang="en-US" dirty="0"/>
              <a:t>Can we describe intuitively what happens? (try it at home)</a:t>
            </a:r>
          </a:p>
          <a:p>
            <a:pPr marL="342900" indent="-342900">
              <a:buFontTx/>
              <a:buChar char="-"/>
            </a:pPr>
            <a:r>
              <a:rPr lang="en-US" dirty="0"/>
              <a:t>Increased aggregate demand for goods…</a:t>
            </a:r>
          </a:p>
          <a:p>
            <a:pPr marL="342900" indent="-342900">
              <a:buFontTx/>
              <a:buChar char="-"/>
            </a:pPr>
            <a:r>
              <a:rPr lang="en-US" dirty="0"/>
              <a:t>Increases production…</a:t>
            </a:r>
          </a:p>
          <a:p>
            <a:pPr marL="342900" indent="-342900">
              <a:buFontTx/>
              <a:buChar char="-"/>
            </a:pPr>
            <a:r>
              <a:rPr lang="en-US" dirty="0"/>
              <a:t>Which increases demand for </a:t>
            </a:r>
            <a:r>
              <a:rPr lang="en-US" dirty="0" err="1"/>
              <a:t>labour</a:t>
            </a:r>
            <a:r>
              <a:rPr lang="en-US" dirty="0"/>
              <a:t>…</a:t>
            </a:r>
          </a:p>
          <a:p>
            <a:pPr marL="342900" indent="-342900">
              <a:buFontTx/>
              <a:buChar char="-"/>
            </a:pPr>
            <a:r>
              <a:rPr lang="en-US" dirty="0"/>
              <a:t>Which drives real wages up (because </a:t>
            </a:r>
            <a:r>
              <a:rPr lang="en-US" dirty="0" err="1"/>
              <a:t>labour</a:t>
            </a:r>
            <a:r>
              <a:rPr lang="en-US" dirty="0"/>
              <a:t> supply is not perfectly elastic)</a:t>
            </a:r>
          </a:p>
          <a:p>
            <a:pPr marL="342900" indent="-342900">
              <a:buFontTx/>
              <a:buChar char="-"/>
            </a:pPr>
            <a:r>
              <a:rPr lang="en-US" dirty="0"/>
              <a:t>Which increases production real costs…</a:t>
            </a:r>
          </a:p>
          <a:p>
            <a:pPr marL="342900" indent="-342900">
              <a:buFontTx/>
              <a:buChar char="-"/>
            </a:pPr>
            <a:r>
              <a:rPr lang="en-US" dirty="0"/>
              <a:t>Which is translates into price inflation (but not 1 to 1 because not all firms adjust)</a:t>
            </a:r>
          </a:p>
          <a:p>
            <a:pPr marL="342900" indent="-342900">
              <a:buFontTx/>
              <a:buChar char="-"/>
            </a:pPr>
            <a:r>
              <a:rPr lang="en-US" dirty="0"/>
              <a:t>Increased prices discourage demand, which partially compensate for production increase.</a:t>
            </a:r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09C7938-4E6D-4399-91E2-AC25E203219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1155E4C-FBCA-4163-855A-288915D962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322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6BB4B3F-978F-47F1-902A-7DF88BA4C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and Shock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9229D8E-C983-4F62-AEE6-4250F8FFBB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oretical Impact: Dynamic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77AA873E-2C41-413C-B8F3-EEF418E6D6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  <a:p>
            <a:pPr marL="342900" indent="-342900">
              <a:buFontTx/>
              <a:buChar char="-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Espace réservé du texte 7">
                <a:extLst>
                  <a:ext uri="{FF2B5EF4-FFF2-40B4-BE49-F238E27FC236}">
                    <a16:creationId xmlns:a16="http://schemas.microsoft.com/office/drawing/2014/main" id="{CD480B8E-B54D-4FB8-8FF9-B275E4F1B208}"/>
                  </a:ext>
                </a:extLst>
              </p:cNvPr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6295352" y="476672"/>
                <a:ext cx="5337050" cy="5400600"/>
              </a:xfr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/>
              <a:lstStyle/>
              <a:p>
                <a:r>
                  <a:rPr lang="en-001" dirty="0"/>
                  <a:t>Consider a transitory demand shocks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Lasts for a few periods before vanishing away.</a:t>
                </a:r>
                <a:endParaRPr lang="en-001" dirty="0"/>
              </a:p>
              <a:p>
                <a:pPr marL="285750" indent="-285750">
                  <a:buFontTx/>
                  <a:buChar char="-"/>
                </a:pPr>
                <a:r>
                  <a:rPr lang="en-001" dirty="0"/>
                  <a:t>Conclusions depend on the degree of persistence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endParaRPr lang="en-US" dirty="0"/>
              </a:p>
              <a:p>
                <a:r>
                  <a:rPr lang="en-US" dirty="0"/>
                  <a:t>As more firms have time to adjust, the slope of AS curve increases</a:t>
                </a:r>
              </a:p>
              <a:p>
                <a:r>
                  <a:rPr lang="en-US" dirty="0"/>
                  <a:t>(remember slope is given by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𝜅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1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US" dirty="0"/>
                  <a:t> wher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𝜔</m:t>
                    </m:r>
                  </m:oMath>
                </a14:m>
                <a:r>
                  <a:rPr lang="en-US" dirty="0"/>
                  <a:t> is the number of firms that have adjusted)</a:t>
                </a:r>
              </a:p>
              <a:p>
                <a:endParaRPr lang="en-US" dirty="0"/>
              </a:p>
              <a:p>
                <a:r>
                  <a:rPr lang="en-US" dirty="0"/>
                  <a:t>Here is an informal description of the </a:t>
                </a:r>
                <a:r>
                  <a:rPr lang="en-US" b="1" dirty="0"/>
                  <a:t>inflation dynamics</a:t>
                </a:r>
                <a:r>
                  <a:rPr lang="en-US" dirty="0"/>
                  <a:t>: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There is an initial rise in inflation (due to the demand shock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Then more inflation as firms adjust their prices (rotation of AS curve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Inflation returns to normal when the demand shock ends</a:t>
                </a:r>
                <a:endParaRPr lang="en-001" dirty="0"/>
              </a:p>
              <a:p>
                <a:pPr marL="285750" indent="-285750">
                  <a:buFontTx/>
                  <a:buChar char="-"/>
                </a:pPr>
                <a:r>
                  <a:rPr lang="en-001" dirty="0"/>
                  <a:t>The faster prices adjust the higher inflation</a:t>
                </a:r>
              </a:p>
              <a:p>
                <a:pPr marL="285750" indent="-285750">
                  <a:buFontTx/>
                  <a:buChar char="-"/>
                </a:pPr>
                <a:endParaRPr lang="en-US" dirty="0"/>
              </a:p>
              <a:p>
                <a:r>
                  <a:rPr lang="en-US" dirty="0"/>
                  <a:t>What about </a:t>
                </a:r>
                <a:r>
                  <a:rPr lang="en-US" b="1" dirty="0"/>
                  <a:t>output</a:t>
                </a:r>
                <a:r>
                  <a:rPr lang="en-001" b="1" dirty="0"/>
                  <a:t> dynamics</a:t>
                </a:r>
                <a:r>
                  <a:rPr lang="en-US" dirty="0"/>
                  <a:t>?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Initially it rises with the demand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Gradually comes back to normal as the effect of the demand shock vanishes.</a:t>
                </a:r>
                <a:endParaRPr lang="en-001" dirty="0"/>
              </a:p>
              <a:p>
                <a:pPr marL="285750" indent="-285750">
                  <a:buFontTx/>
                  <a:buChar char="-"/>
                </a:pPr>
                <a:r>
                  <a:rPr lang="en-001" dirty="0"/>
                  <a:t>The prices adjust the shorter the effect on output</a:t>
                </a:r>
                <a:endParaRPr lang="en-US" dirty="0"/>
              </a:p>
              <a:p>
                <a:endParaRPr lang="en-US" dirty="0"/>
              </a:p>
              <a:p>
                <a:pPr marL="285750" indent="-285750">
                  <a:buFontTx/>
                  <a:buChar char="-"/>
                </a:pPr>
                <a:endParaRPr lang="en-US" dirty="0"/>
              </a:p>
            </p:txBody>
          </p:sp>
        </mc:Choice>
        <mc:Fallback xmlns="">
          <p:sp>
            <p:nvSpPr>
              <p:cNvPr id="8" name="Espace réservé du texte 7">
                <a:extLst>
                  <a:ext uri="{FF2B5EF4-FFF2-40B4-BE49-F238E27FC236}">
                    <a16:creationId xmlns:a16="http://schemas.microsoft.com/office/drawing/2014/main" id="{CD480B8E-B54D-4FB8-8FF9-B275E4F1B20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6295352" y="476672"/>
                <a:ext cx="5337050" cy="5400600"/>
              </a:xfrm>
              <a:blipFill>
                <a:blip r:embed="rId2"/>
                <a:stretch>
                  <a:fillRect l="-1943" t="-903" r="-80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09C7938-4E6D-4399-91E2-AC25E203219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1155E4C-FBCA-4163-855A-288915D962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8</a:t>
            </a:fld>
            <a:endParaRPr lang="en-US"/>
          </a:p>
        </p:txBody>
      </p:sp>
      <p:cxnSp>
        <p:nvCxnSpPr>
          <p:cNvPr id="11" name="Straight Arrow Connector 10"/>
          <p:cNvCxnSpPr/>
          <p:nvPr/>
        </p:nvCxnSpPr>
        <p:spPr bwMode="auto">
          <a:xfrm>
            <a:off x="839416" y="5385749"/>
            <a:ext cx="432048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auto">
          <a:xfrm flipH="1" flipV="1">
            <a:off x="839416" y="1938162"/>
            <a:ext cx="8384" cy="346476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auto">
          <a:xfrm flipV="1">
            <a:off x="1309320" y="2587142"/>
            <a:ext cx="3448048" cy="1958796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auto">
          <a:xfrm>
            <a:off x="1309320" y="2276872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 bwMode="auto">
          <a:xfrm>
            <a:off x="1559496" y="2185706"/>
            <a:ext cx="52290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AD</a:t>
            </a:r>
            <a:endParaRPr lang="fr-FR" dirty="0"/>
          </a:p>
        </p:txBody>
      </p:sp>
      <p:cxnSp>
        <p:nvCxnSpPr>
          <p:cNvPr id="25" name="Straight Connector 24"/>
          <p:cNvCxnSpPr/>
          <p:nvPr/>
        </p:nvCxnSpPr>
        <p:spPr bwMode="auto">
          <a:xfrm>
            <a:off x="2599372" y="1815023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 bwMode="auto">
          <a:xfrm>
            <a:off x="5048785" y="3131998"/>
            <a:ext cx="15841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001" dirty="0"/>
              <a:t>Demand Shock</a:t>
            </a:r>
            <a:endParaRPr lang="fr-FR" dirty="0"/>
          </a:p>
        </p:txBody>
      </p:sp>
      <p:cxnSp>
        <p:nvCxnSpPr>
          <p:cNvPr id="32" name="Straight Connector 31"/>
          <p:cNvCxnSpPr/>
          <p:nvPr/>
        </p:nvCxnSpPr>
        <p:spPr bwMode="auto">
          <a:xfrm flipV="1">
            <a:off x="1703202" y="2392187"/>
            <a:ext cx="2541880" cy="247139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 bwMode="auto">
          <a:xfrm flipV="1">
            <a:off x="2309483" y="2180947"/>
            <a:ext cx="1390058" cy="2910572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 bwMode="auto">
          <a:xfrm flipH="1" flipV="1">
            <a:off x="3033344" y="1617061"/>
            <a:ext cx="881" cy="3412947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 bwMode="auto">
          <a:xfrm flipV="1">
            <a:off x="2726981" y="1835293"/>
            <a:ext cx="627693" cy="3256227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 bwMode="auto">
          <a:xfrm>
            <a:off x="975409" y="4080613"/>
            <a:ext cx="50847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/>
              <a:t>AS</a:t>
            </a:r>
            <a:endParaRPr lang="fr-FR" dirty="0"/>
          </a:p>
        </p:txBody>
      </p:sp>
      <p:cxnSp>
        <p:nvCxnSpPr>
          <p:cNvPr id="46" name="Straight Arrow Connector 45"/>
          <p:cNvCxnSpPr/>
          <p:nvPr/>
        </p:nvCxnSpPr>
        <p:spPr bwMode="auto">
          <a:xfrm flipH="1" flipV="1">
            <a:off x="3725864" y="1812229"/>
            <a:ext cx="1031504" cy="40594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 bwMode="auto">
          <a:xfrm>
            <a:off x="4572209" y="1516834"/>
            <a:ext cx="1338828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001" dirty="0"/>
              <a:t>More firms</a:t>
            </a:r>
          </a:p>
          <a:p>
            <a:r>
              <a:rPr lang="en-001" dirty="0"/>
              <a:t>adjust</a:t>
            </a:r>
            <a:endParaRPr lang="fr-FR" dirty="0"/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2138025" y="1933889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 bwMode="auto">
          <a:xfrm>
            <a:off x="1705979" y="2041095"/>
            <a:ext cx="3448048" cy="259228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 bwMode="auto">
          <a:xfrm flipV="1">
            <a:off x="3343731" y="3763306"/>
            <a:ext cx="656505" cy="108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 bwMode="auto">
          <a:xfrm flipV="1">
            <a:off x="4194457" y="4415669"/>
            <a:ext cx="1800200" cy="83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 bwMode="auto">
          <a:xfrm flipV="1">
            <a:off x="3533711" y="3939938"/>
            <a:ext cx="1328840" cy="91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/>
              <p:cNvSpPr txBox="1"/>
              <p:nvPr/>
            </p:nvSpPr>
            <p:spPr bwMode="auto">
              <a:xfrm>
                <a:off x="5211620" y="5197258"/>
                <a:ext cx="392415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61" name="TextBox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211620" y="5197258"/>
                <a:ext cx="392415" cy="384721"/>
              </a:xfrm>
              <a:prstGeom prst="rect">
                <a:avLst/>
              </a:prstGeom>
              <a:blipFill>
                <a:blip r:embed="rId3"/>
                <a:stretch>
                  <a:fillRect b="-63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/>
              <p:cNvSpPr txBox="1"/>
              <p:nvPr/>
            </p:nvSpPr>
            <p:spPr bwMode="auto">
              <a:xfrm>
                <a:off x="524235" y="1603339"/>
                <a:ext cx="401520" cy="3847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001" b="0" i="1" smtClean="0">
                          <a:latin typeface="Cambria Math" panose="02040503050406030204" pitchFamily="18" charset="0"/>
                        </a:rPr>
                        <m:t>𝜋</m:t>
                      </m:r>
                    </m:oMath>
                  </m:oMathPara>
                </a14:m>
                <a:endParaRPr lang="en-001" dirty="0"/>
              </a:p>
            </p:txBody>
          </p:sp>
        </mc:Choice>
        <mc:Fallback xmlns="">
          <p:sp>
            <p:nvSpPr>
              <p:cNvPr id="62" name="TextBox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24235" y="1603339"/>
                <a:ext cx="401520" cy="38472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Oval 62"/>
          <p:cNvSpPr/>
          <p:nvPr/>
        </p:nvSpPr>
        <p:spPr bwMode="auto">
          <a:xfrm>
            <a:off x="4036894" y="2875281"/>
            <a:ext cx="168340" cy="153727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4" name="Oval 63"/>
          <p:cNvSpPr/>
          <p:nvPr/>
        </p:nvSpPr>
        <p:spPr bwMode="auto">
          <a:xfrm>
            <a:off x="3024365" y="3010968"/>
            <a:ext cx="168340" cy="153727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5" name="Oval 64"/>
          <p:cNvSpPr/>
          <p:nvPr/>
        </p:nvSpPr>
        <p:spPr bwMode="auto">
          <a:xfrm>
            <a:off x="3266518" y="2779477"/>
            <a:ext cx="168340" cy="153727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Oval 65"/>
          <p:cNvSpPr/>
          <p:nvPr/>
        </p:nvSpPr>
        <p:spPr bwMode="auto">
          <a:xfrm>
            <a:off x="3787656" y="2695737"/>
            <a:ext cx="168340" cy="153727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Oval 66"/>
          <p:cNvSpPr/>
          <p:nvPr/>
        </p:nvSpPr>
        <p:spPr bwMode="auto">
          <a:xfrm>
            <a:off x="2919678" y="3485246"/>
            <a:ext cx="168340" cy="153727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4597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76613AF7-C243-4ABD-90D9-E1A2546C8D68}"/>
              </a:ext>
            </a:extLst>
          </p:cNvPr>
          <p:cNvSpPr txBox="1"/>
          <p:nvPr/>
        </p:nvSpPr>
        <p:spPr bwMode="auto">
          <a:xfrm>
            <a:off x="382653" y="1415858"/>
            <a:ext cx="6649451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ph shows the effect of a “pure” demand shock:</a:t>
            </a:r>
          </a:p>
          <a:p>
            <a:pPr marL="342900" indent="-342900">
              <a:buFontTx/>
              <a:buChar char="-"/>
            </a:pPr>
            <a:r>
              <a:rPr lang="en-US" dirty="0"/>
              <a:t>unexpected monetary policy shock</a:t>
            </a:r>
          </a:p>
          <a:p>
            <a:pPr marL="342900" indent="-342900">
              <a:buFontTx/>
              <a:buChar char="-"/>
            </a:pPr>
            <a:endParaRPr lang="en-US" dirty="0"/>
          </a:p>
          <a:p>
            <a:r>
              <a:rPr lang="en-US" dirty="0"/>
              <a:t>It compares response of economic variables:</a:t>
            </a:r>
          </a:p>
          <a:p>
            <a:pPr marL="342900" indent="-342900">
              <a:buFontTx/>
              <a:buChar char="-"/>
            </a:pPr>
            <a:r>
              <a:rPr lang="en-US" dirty="0"/>
              <a:t>In the data (econometrics: VAR estimate)</a:t>
            </a:r>
          </a:p>
          <a:p>
            <a:pPr marL="342900" indent="-342900">
              <a:buFontTx/>
              <a:buChar char="-"/>
            </a:pPr>
            <a:r>
              <a:rPr lang="en-US" dirty="0"/>
              <a:t>In a model with nominal rigidities (DSGE modeling)</a:t>
            </a:r>
          </a:p>
          <a:p>
            <a:pPr marL="342900" indent="-342900">
              <a:buFontTx/>
              <a:buChar char="-"/>
            </a:pPr>
            <a:r>
              <a:rPr lang="en-US" dirty="0"/>
              <a:t>Both look rather similar</a:t>
            </a:r>
          </a:p>
          <a:p>
            <a:pPr marL="342900" indent="-342900">
              <a:buFontTx/>
              <a:buChar char="-"/>
            </a:pPr>
            <a:endParaRPr lang="en-US" dirty="0"/>
          </a:p>
          <a:p>
            <a:r>
              <a:rPr lang="en-US" dirty="0"/>
              <a:t>Compare with our model</a:t>
            </a:r>
          </a:p>
          <a:p>
            <a:pPr marL="342900" indent="-342900">
              <a:buFontTx/>
              <a:buChar char="-"/>
            </a:pPr>
            <a:r>
              <a:rPr lang="en-US" dirty="0"/>
              <a:t>Investment and consumption increase</a:t>
            </a:r>
          </a:p>
          <a:p>
            <a:pPr marL="342900" indent="-342900">
              <a:buFontTx/>
              <a:buChar char="-"/>
            </a:pPr>
            <a:r>
              <a:rPr lang="en-US" dirty="0"/>
              <a:t>Inflation increases over the medium run (not just on impact)</a:t>
            </a:r>
          </a:p>
          <a:p>
            <a:pPr marL="342900" indent="-342900">
              <a:buFontTx/>
              <a:buChar char="-"/>
            </a:pPr>
            <a:r>
              <a:rPr lang="en-US" dirty="0"/>
              <a:t>Real wage increases</a:t>
            </a:r>
          </a:p>
          <a:p>
            <a:pPr marL="342900" indent="-342900">
              <a:buFontTx/>
              <a:buChar char="-"/>
            </a:pPr>
            <a:r>
              <a:rPr lang="en-US" dirty="0"/>
              <a:t>Output increase is persistent</a:t>
            </a:r>
          </a:p>
          <a:p>
            <a:pPr marL="821808" lvl="1" indent="-342900">
              <a:buFontTx/>
              <a:buChar char="-"/>
            </a:pPr>
            <a:r>
              <a:rPr lang="en-US" dirty="0"/>
              <a:t>But then there is capital</a:t>
            </a:r>
            <a:r>
              <a:rPr lang="en-001" dirty="0"/>
              <a:t> which smoothers production over time.</a:t>
            </a:r>
            <a:endParaRPr lang="en-US" dirty="0"/>
          </a:p>
          <a:p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518654E-5217-45E9-ACB0-6CF4CBEB1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and Shock: Empirical Check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1442EF9-2122-431B-AD5F-F1D2F1A27E1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663699" y="6021288"/>
            <a:ext cx="5368405" cy="489625"/>
          </a:xfrm>
        </p:spPr>
        <p:txBody>
          <a:bodyPr/>
          <a:lstStyle/>
          <a:p>
            <a:pPr>
              <a:defRPr/>
            </a:pPr>
            <a:r>
              <a:rPr lang="fr-FR" dirty="0" err="1"/>
              <a:t>From</a:t>
            </a:r>
            <a:r>
              <a:rPr lang="fr-FR" dirty="0"/>
              <a:t>:</a:t>
            </a:r>
            <a:r>
              <a:rPr lang="fr-FR" i="1" dirty="0"/>
              <a:t> Nominal </a:t>
            </a:r>
            <a:r>
              <a:rPr lang="fr-FR" i="1" dirty="0" err="1"/>
              <a:t>Rigidities</a:t>
            </a:r>
            <a:r>
              <a:rPr lang="fr-FR" i="1" dirty="0"/>
              <a:t> and the Dynamic </a:t>
            </a:r>
            <a:r>
              <a:rPr lang="fr-FR" i="1" dirty="0" err="1"/>
              <a:t>Effect</a:t>
            </a:r>
            <a:r>
              <a:rPr lang="fr-FR" i="1" dirty="0"/>
              <a:t> of a </a:t>
            </a:r>
            <a:r>
              <a:rPr lang="fr-FR" i="1" dirty="0" err="1"/>
              <a:t>Shock</a:t>
            </a:r>
            <a:r>
              <a:rPr lang="fr-FR" i="1" dirty="0"/>
              <a:t> to </a:t>
            </a:r>
            <a:r>
              <a:rPr lang="fr-FR" i="1" dirty="0" err="1"/>
              <a:t>Monetary</a:t>
            </a:r>
            <a:r>
              <a:rPr lang="fr-FR" i="1" dirty="0"/>
              <a:t> Policy</a:t>
            </a:r>
            <a:r>
              <a:rPr lang="fr-FR" dirty="0" smtClean="0"/>
              <a:t>,</a:t>
            </a:r>
            <a:r>
              <a:rPr lang="en-001" dirty="0" smtClean="0"/>
              <a:t> Christiano, Eichenbaum and Evans,</a:t>
            </a:r>
            <a:r>
              <a:rPr lang="fr-FR" dirty="0" smtClean="0"/>
              <a:t> Journal </a:t>
            </a:r>
            <a:r>
              <a:rPr lang="fr-FR" dirty="0"/>
              <a:t>of </a:t>
            </a:r>
            <a:r>
              <a:rPr lang="fr-FR" dirty="0" err="1"/>
              <a:t>Political</a:t>
            </a:r>
            <a:r>
              <a:rPr lang="fr-FR" dirty="0"/>
              <a:t> </a:t>
            </a:r>
            <a:r>
              <a:rPr lang="fr-FR" dirty="0" err="1" smtClean="0"/>
              <a:t>Economy</a:t>
            </a:r>
            <a:r>
              <a:rPr lang="en-001" dirty="0" smtClean="0"/>
              <a:t>, 2005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EB5FD4-D0C4-46C3-9E0A-E319E946B28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75420585-EF40-544B-9E2D-31F92701F945}" type="slidenum">
              <a:rPr lang="en-US" smtClean="0"/>
              <a:t>9</a:t>
            </a:fld>
            <a:endParaRPr lang="en-US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7B9FBEE4-36A9-4686-9FBF-BE2CA14AE0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677719" y="-288714"/>
            <a:ext cx="5257105" cy="7435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403378"/>
      </p:ext>
    </p:extLst>
  </p:cSld>
  <p:clrMapOvr>
    <a:masterClrMapping/>
  </p:clrMapOvr>
</p:sld>
</file>

<file path=ppt/theme/theme1.xml><?xml version="1.0" encoding="utf-8"?>
<a:theme xmlns:a="http://schemas.openxmlformats.org/drawingml/2006/main" name="1_ESCP Europe">
  <a:themeElements>
    <a:clrScheme name="Personnalisé 1">
      <a:dk1>
        <a:srgbClr val="240085"/>
      </a:dk1>
      <a:lt1>
        <a:srgbClr val="EEC343"/>
      </a:lt1>
      <a:dk2>
        <a:srgbClr val="9CA6BE"/>
      </a:dk2>
      <a:lt2>
        <a:srgbClr val="969083"/>
      </a:lt2>
      <a:accent1>
        <a:srgbClr val="FEFFFE"/>
      </a:accent1>
      <a:accent2>
        <a:srgbClr val="240085"/>
      </a:accent2>
      <a:accent3>
        <a:srgbClr val="FEFFFE"/>
      </a:accent3>
      <a:accent4>
        <a:srgbClr val="9CA6BE"/>
      </a:accent4>
      <a:accent5>
        <a:srgbClr val="969083"/>
      </a:accent5>
      <a:accent6>
        <a:srgbClr val="240085"/>
      </a:accent6>
      <a:hlink>
        <a:srgbClr val="EEC343"/>
      </a:hlink>
      <a:folHlink>
        <a:srgbClr val="9CA6BE"/>
      </a:folHlink>
    </a:clrScheme>
    <a:fontScheme name="Times New Roman-Arial">
      <a:majorFont>
        <a:latin typeface="Times New Roman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accent1"/>
        </a:solidFill>
        <a:ln w="25400" cap="flat" cmpd="sng" algn="ctr">
          <a:noFill/>
          <a:prstDash val="solid"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CP Europe</Template>
  <TotalTime>453</TotalTime>
  <Words>634</Words>
  <Application>Microsoft Office PowerPoint</Application>
  <DocSecurity>0</DocSecurity>
  <PresentationFormat>Widescreen</PresentationFormat>
  <Paragraphs>19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Cambria Math</vt:lpstr>
      <vt:lpstr>Times New Roman</vt:lpstr>
      <vt:lpstr>Arial</vt:lpstr>
      <vt:lpstr>Taviraj Medium</vt:lpstr>
      <vt:lpstr>Montserrat</vt:lpstr>
      <vt:lpstr>Calibri</vt:lpstr>
      <vt:lpstr>Montserrat Light</vt:lpstr>
      <vt:lpstr>1_ESCP Europe</vt:lpstr>
      <vt:lpstr>oleObj</vt:lpstr>
      <vt:lpstr>EF01: Macroeconomics</vt:lpstr>
      <vt:lpstr>Program</vt:lpstr>
      <vt:lpstr>AS/AD Equilibrium</vt:lpstr>
      <vt:lpstr>Short-Term Effect of Shocks</vt:lpstr>
      <vt:lpstr>Demand Shock</vt:lpstr>
      <vt:lpstr>Demand Shock</vt:lpstr>
      <vt:lpstr>Demand Shock</vt:lpstr>
      <vt:lpstr>Demand Shock</vt:lpstr>
      <vt:lpstr>Demand Shock: Empirical Check</vt:lpstr>
      <vt:lpstr>Supply Shock</vt:lpstr>
      <vt:lpstr>Supply</vt:lpstr>
      <vt:lpstr>Supply Shock</vt:lpstr>
      <vt:lpstr>Main Takeaway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subject/>
  <dc:creator>Rose Demerona</dc:creator>
  <cp:keywords/>
  <dc:description/>
  <cp:lastModifiedBy>Station</cp:lastModifiedBy>
  <cp:revision>181</cp:revision>
  <dcterms:created xsi:type="dcterms:W3CDTF">2019-10-16T14:49:27Z</dcterms:created>
  <dcterms:modified xsi:type="dcterms:W3CDTF">2022-03-03T18:14:57Z</dcterms:modified>
  <cp:category/>
  <dc:identifier/>
  <cp:contentStatus/>
  <dc:language/>
  <cp:version/>
</cp:coreProperties>
</file>